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  <p:sldMasterId id="2147483688" r:id="rId3"/>
  </p:sldMasterIdLst>
  <p:notesMasterIdLst>
    <p:notesMasterId r:id="rId10"/>
  </p:notesMasterIdLst>
  <p:sldIdLst>
    <p:sldId id="267" r:id="rId4"/>
    <p:sldId id="275" r:id="rId5"/>
    <p:sldId id="276" r:id="rId6"/>
    <p:sldId id="269" r:id="rId7"/>
    <p:sldId id="274" r:id="rId8"/>
    <p:sldId id="266" r:id="rId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66" y="6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&#1044;&#1080;&#1072;&#1075;&#1088;&#1072;&#1084;&#1084;&#1072;%20&#1074;%20Microsoft%20PowerPoint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500" b="1" i="0" u="none" strike="noStrike" kern="1200" cap="none" spc="0" baseline="0" dirty="0" smtClean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Helvetica Neue"/>
              </a:rPr>
              <a:t>Прогноз</a:t>
            </a:r>
            <a:r>
              <a:rPr lang="ru-RU" sz="1500" b="1" i="0" u="none" strike="noStrike" kern="1200" cap="none" spc="0" baseline="0" dirty="0" smtClean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объема рынка </a:t>
            </a:r>
            <a:r>
              <a:rPr lang="en-US" sz="1500" b="1" i="0" u="none" strike="noStrike" kern="1200" cap="none" spc="0" baseline="0" dirty="0" smtClean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OT, 2018-2022 </a:t>
            </a:r>
            <a:r>
              <a:rPr lang="ru-RU" sz="1500" b="1" i="0" u="none" strike="noStrike" kern="1200" cap="none" spc="0" baseline="0" dirty="0" smtClean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гг</a:t>
            </a:r>
            <a:r>
              <a:rPr lang="ru-RU" sz="1500" b="1" i="0" u="none" strike="noStrike" kern="1200" cap="none" spc="0" baseline="0" dirty="0" smtClean="0">
                <a:ln>
                  <a:noFill/>
                </a:ln>
                <a:solidFill>
                  <a:schemeClr val="tx1"/>
                </a:solidFill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*</a:t>
            </a:r>
            <a:endParaRPr lang="ru-RU" sz="1500" b="1" i="0" u="none" strike="noStrike" kern="1200" cap="none" spc="0" baseline="0" dirty="0">
              <a:ln>
                <a:noFill/>
              </a:ln>
              <a:solidFill>
                <a:schemeClr val="tx1"/>
              </a:solidFill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16972056372295574"/>
          <c:y val="0.124098444926311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2">
                  <a:lumMod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5.4808184892031174E-2"/>
          <c:y val="0.18425731309699048"/>
          <c:w val="0.91725038751595289"/>
          <c:h val="0.67184336754920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Диаграмма в Microsoft PowerPoint]Лист2'!$A$2</c:f>
              <c:strCache>
                <c:ptCount val="1"/>
                <c:pt idx="0">
                  <c:v>Пессимистический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Диаграмма в Microsoft PowerPoint]Лист2'!$B$1:$F$1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'[Диаграмма в Microsoft PowerPoint]Лист2'!$B$2:$F$2</c:f>
              <c:numCache>
                <c:formatCode>General</c:formatCode>
                <c:ptCount val="5"/>
                <c:pt idx="0">
                  <c:v>129</c:v>
                </c:pt>
                <c:pt idx="1">
                  <c:v>151.80000000000001</c:v>
                </c:pt>
                <c:pt idx="2">
                  <c:v>174.6</c:v>
                </c:pt>
                <c:pt idx="3">
                  <c:v>197.4</c:v>
                </c:pt>
                <c:pt idx="4">
                  <c:v>22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AB-4828-B23A-D60C02AE05B8}"/>
            </c:ext>
          </c:extLst>
        </c:ser>
        <c:ser>
          <c:idx val="1"/>
          <c:order val="1"/>
          <c:tx>
            <c:strRef>
              <c:f>'[Диаграмма в Microsoft PowerPoint]Лист2'!$A$3</c:f>
              <c:strCache>
                <c:ptCount val="1"/>
                <c:pt idx="0">
                  <c:v>Оптимистический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9.2925664297769869E-3"/>
                  <c:y val="-8.0936432123456873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BAAB-4828-B23A-D60C02AE05B8}"/>
                </c:ext>
              </c:extLst>
            </c:dLbl>
            <c:dLbl>
              <c:idx val="1"/>
              <c:layout>
                <c:manualLayout>
                  <c:x val="5.2861085410225266E-2"/>
                  <c:y val="2.940737879760406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BAAB-4828-B23A-D60C02AE05B8}"/>
                </c:ext>
              </c:extLst>
            </c:dLbl>
            <c:dLbl>
              <c:idx val="2"/>
              <c:layout>
                <c:manualLayout>
                  <c:x val="3.7170265719107816E-2"/>
                  <c:y val="-4.414765478619673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BAAB-4828-B23A-D60C02AE05B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Диаграмма в Microsoft PowerPoint]Лист2'!$B$1:$F$1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'[Диаграмма в Microsoft PowerPoint]Лист2'!$B$3:$F$3</c:f>
              <c:numCache>
                <c:formatCode>General</c:formatCode>
                <c:ptCount val="5"/>
                <c:pt idx="0">
                  <c:v>149.80000000000001</c:v>
                </c:pt>
                <c:pt idx="1">
                  <c:v>211.2</c:v>
                </c:pt>
                <c:pt idx="2">
                  <c:v>297.89999999999998</c:v>
                </c:pt>
                <c:pt idx="3">
                  <c:v>420</c:v>
                </c:pt>
                <c:pt idx="4">
                  <c:v>592.2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AAB-4828-B23A-D60C02AE05B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99236544"/>
        <c:axId val="1399220736"/>
      </c:barChart>
      <c:catAx>
        <c:axId val="1399236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99220736"/>
        <c:crosses val="autoZero"/>
        <c:auto val="1"/>
        <c:lblAlgn val="ctr"/>
        <c:lblOffset val="100"/>
        <c:noMultiLvlLbl val="0"/>
      </c:catAx>
      <c:valAx>
        <c:axId val="1399220736"/>
        <c:scaling>
          <c:orientation val="minMax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Млрд.</a:t>
                </a:r>
                <a:r>
                  <a:rPr lang="ru-RU" baseline="0"/>
                  <a:t> руб.</a:t>
                </a:r>
                <a:endParaRPr lang="ru-RU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crossAx val="1399236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1C23A2-362F-49D3-AD96-831B20E8AA37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185279-EB1D-4E66-A833-054481A240E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89174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85279-EB1D-4E66-A833-054481A240E5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9432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2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2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8C0C0-EB90-416B-AD15-2FF686FDA0F3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04353-F76A-4FB0-82D0-2891ECD9CF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93465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8C0C0-EB90-416B-AD15-2FF686FDA0F3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04353-F76A-4FB0-82D0-2891ECD9CF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0649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8C0C0-EB90-416B-AD15-2FF686FDA0F3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04353-F76A-4FB0-82D0-2891ECD9CF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5283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9667"/>
            <a:ext cx="12192000" cy="6927667"/>
          </a:xfrm>
          <a:prstGeom prst="rect">
            <a:avLst/>
          </a:prstGeom>
        </p:spPr>
      </p:pic>
      <p:sp>
        <p:nvSpPr>
          <p:cNvPr id="8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729435" y="4061333"/>
            <a:ext cx="5060511" cy="465600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департамента</a:t>
            </a:r>
            <a:br>
              <a:rPr lang="ru-RU" dirty="0" smtClean="0"/>
            </a:br>
            <a:r>
              <a:rPr lang="ru-RU" dirty="0" smtClean="0"/>
              <a:t>ФИО и должность</a:t>
            </a:r>
            <a:endParaRPr lang="ru-RU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28501" y="4894970"/>
            <a:ext cx="3462200" cy="256924"/>
          </a:xfrm>
        </p:spPr>
        <p:txBody>
          <a:bodyPr lIns="0" tIns="0" rIns="0" bIns="0" anchor="t"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" name="Текст 22"/>
          <p:cNvSpPr>
            <a:spLocks noGrp="1"/>
          </p:cNvSpPr>
          <p:nvPr>
            <p:ph type="body" sz="quarter" idx="14" hasCustomPrompt="1"/>
          </p:nvPr>
        </p:nvSpPr>
        <p:spPr>
          <a:xfrm>
            <a:off x="728502" y="1239647"/>
            <a:ext cx="5061444" cy="229942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37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Заголовок презентации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ru-RU" dirty="0" smtClean="0"/>
              <a:t>длиной не более четырёх строк, шрифт</a:t>
            </a:r>
            <a:r>
              <a:rPr lang="en-US" dirty="0" smtClean="0"/>
              <a:t> 28pt</a:t>
            </a:r>
            <a:endParaRPr lang="ru-RU" dirty="0" smtClean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698" y="1012456"/>
            <a:ext cx="5516903" cy="5236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98431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719667" y="377647"/>
            <a:ext cx="10751999" cy="900000"/>
          </a:xfrm>
        </p:spPr>
        <p:txBody>
          <a:bodyPr lIns="0" tIns="0" rIns="0" bIns="198000" anchor="b">
            <a:noAutofit/>
          </a:bodyPr>
          <a:lstStyle>
            <a:lvl1pPr marL="0" indent="0">
              <a:buFontTx/>
              <a:buNone/>
              <a:defRPr sz="2400" b="0" baseline="0">
                <a:solidFill>
                  <a:srgbClr val="E30611"/>
                </a:solidFill>
                <a:latin typeface="+mj-lt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ru-RU" dirty="0" smtClean="0"/>
              <a:t>Заголовок слайда. Размер шрифта 24 </a:t>
            </a:r>
            <a:r>
              <a:rPr lang="en-US" dirty="0" smtClean="0"/>
              <a:t>pt.</a:t>
            </a:r>
            <a:r>
              <a:rPr lang="ru-RU" dirty="0" smtClean="0"/>
              <a:t> </a:t>
            </a:r>
            <a:br>
              <a:rPr lang="ru-RU" dirty="0" smtClean="0"/>
            </a:br>
            <a:r>
              <a:rPr lang="ru-RU" dirty="0" smtClean="0"/>
              <a:t>Не более двух стр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744000" y="1441855"/>
            <a:ext cx="10751997" cy="4877987"/>
          </a:xfrm>
        </p:spPr>
        <p:txBody>
          <a:bodyPr numCol="2" spcCol="180000">
            <a:noAutofit/>
          </a:bodyPr>
          <a:lstStyle>
            <a:lvl1pPr algn="just">
              <a:defRPr b="0" baseline="0">
                <a:solidFill>
                  <a:srgbClr val="E30611"/>
                </a:solidFill>
              </a:defRPr>
            </a:lvl1pPr>
            <a:lvl2pPr algn="just">
              <a:defRPr baseline="0"/>
            </a:lvl2pPr>
            <a:lvl3pPr marL="361942" indent="-184146" algn="just">
              <a:buFont typeface="Arial" panose="020B0604020202020204" pitchFamily="34" charset="0"/>
              <a:buChar char="•"/>
              <a:defRPr baseline="0"/>
            </a:lvl3pPr>
            <a:lvl4pPr marL="539737" indent="-177796" algn="just">
              <a:buFont typeface="Arial" panose="020B0604020202020204" pitchFamily="34" charset="0"/>
              <a:buChar char="•"/>
              <a:defRPr baseline="0"/>
            </a:lvl4pPr>
            <a:lvl5pPr marL="717533" indent="-177796" algn="just">
              <a:buFont typeface="Arial" panose="020B0604020202020204" pitchFamily="34" charset="0"/>
              <a:buChar char="•"/>
              <a:defRPr baseline="0"/>
            </a:lvl5pPr>
          </a:lstStyle>
          <a:p>
            <a:pPr lvl="0"/>
            <a:r>
              <a:rPr lang="ru-RU" dirty="0" smtClean="0"/>
              <a:t>Подзаголовок слайда, шрифт 14 </a:t>
            </a:r>
            <a:r>
              <a:rPr lang="en-US" dirty="0" err="1" smtClean="0"/>
              <a:t>pt</a:t>
            </a:r>
            <a:endParaRPr lang="ru-RU" dirty="0" smtClean="0"/>
          </a:p>
          <a:p>
            <a:pPr lvl="1"/>
            <a:r>
              <a:rPr lang="ru-RU" dirty="0" smtClean="0"/>
              <a:t>Текст слайда первого уровня, шрифт 12 </a:t>
            </a:r>
            <a:r>
              <a:rPr lang="en-US" dirty="0" err="1" smtClean="0"/>
              <a:t>pt</a:t>
            </a:r>
            <a:endParaRPr lang="ru-RU" dirty="0" smtClean="0"/>
          </a:p>
          <a:p>
            <a:pPr lvl="2"/>
            <a:r>
              <a:rPr lang="ru-RU" dirty="0" smtClean="0"/>
              <a:t>Текст слайда второго уровня, шрифт 12 </a:t>
            </a:r>
            <a:r>
              <a:rPr lang="en-US" dirty="0" err="1" smtClean="0"/>
              <a:t>pt</a:t>
            </a:r>
            <a:endParaRPr lang="ru-RU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9" name="Номер слайда 11"/>
          <p:cNvSpPr txBox="1">
            <a:spLocks/>
          </p:cNvSpPr>
          <p:nvPr userDrawn="1"/>
        </p:nvSpPr>
        <p:spPr>
          <a:xfrm>
            <a:off x="11255581" y="6400008"/>
            <a:ext cx="3312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7F9400-7FE9-4DA1-B5F6-A54CC10F30E4}" type="slidenum">
              <a:rPr lang="ru-RU" sz="1333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333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621" y="6106245"/>
            <a:ext cx="2861553" cy="69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0656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5">
          <p15:clr>
            <a:srgbClr val="FBAE40"/>
          </p15:clr>
        </p15:guide>
        <p15:guide id="2" pos="1516">
          <p15:clr>
            <a:srgbClr val="FBAE40"/>
          </p15:clr>
        </p15:guide>
        <p15:guide id="3" pos="952">
          <p15:clr>
            <a:srgbClr val="FBAE40"/>
          </p15:clr>
        </p15:guide>
        <p15:guide id="4" pos="868">
          <p15:clr>
            <a:srgbClr val="FBAE40"/>
          </p15:clr>
        </p15:guide>
        <p15:guide id="5" pos="255">
          <p15:clr>
            <a:srgbClr val="FBAE40"/>
          </p15:clr>
        </p15:guide>
        <p15:guide id="6" pos="1599">
          <p15:clr>
            <a:srgbClr val="FBAE40"/>
          </p15:clr>
        </p15:guide>
        <p15:guide id="7" pos="2165">
          <p15:clr>
            <a:srgbClr val="FBAE40"/>
          </p15:clr>
        </p15:guide>
        <p15:guide id="8" pos="2249">
          <p15:clr>
            <a:srgbClr val="FBAE40"/>
          </p15:clr>
        </p15:guide>
        <p15:guide id="9" pos="3461">
          <p15:clr>
            <a:srgbClr val="FBAE40"/>
          </p15:clr>
        </p15:guide>
        <p15:guide id="10" pos="3548">
          <p15:clr>
            <a:srgbClr val="FBAE40"/>
          </p15:clr>
        </p15:guide>
        <p15:guide id="11" pos="4073">
          <p15:clr>
            <a:srgbClr val="FBAE40"/>
          </p15:clr>
        </p15:guide>
        <p15:guide id="12" pos="4164">
          <p15:clr>
            <a:srgbClr val="FBAE40"/>
          </p15:clr>
        </p15:guide>
        <p15:guide id="13" orient="horz" pos="2986">
          <p15:clr>
            <a:srgbClr val="FBAE40"/>
          </p15:clr>
        </p15:guide>
        <p15:guide id="14" pos="2891">
          <p15:clr>
            <a:srgbClr val="FBAE40"/>
          </p15:clr>
        </p15:guide>
        <p15:guide id="15" pos="280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2880000" y="328590"/>
            <a:ext cx="9000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2000">
                <a:latin typeface="+mj-lt"/>
              </a:defRPr>
            </a:lvl1pPr>
          </a:lstStyle>
          <a:p>
            <a:pPr lvl="0"/>
            <a:r>
              <a:rPr lang="ru-RU" altLang="ru-RU" dirty="0" smtClean="0"/>
              <a:t>Образец заголовка</a:t>
            </a:r>
            <a:endParaRPr lang="en-US" altLang="ru-RU" dirty="0" smtClean="0"/>
          </a:p>
        </p:txBody>
      </p:sp>
    </p:spTree>
    <p:extLst>
      <p:ext uri="{BB962C8B-B14F-4D97-AF65-F5344CB8AC3E}">
        <p14:creationId xmlns:p14="http://schemas.microsoft.com/office/powerpoint/2010/main" val="38123015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47">
          <p15:clr>
            <a:srgbClr val="FBAE40"/>
          </p15:clr>
        </p15:guide>
        <p15:guide id="2" pos="187">
          <p15:clr>
            <a:srgbClr val="FBAE40"/>
          </p15:clr>
        </p15:guide>
        <p15:guide id="3" pos="560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DD876CB-863A-4046-AF0D-B77DC7D5D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3051175"/>
            <a:ext cx="7632700" cy="2324100"/>
          </a:xfrm>
          <a:prstGeom prst="rect">
            <a:avLst/>
          </a:prstGeom>
        </p:spPr>
        <p:txBody>
          <a:bodyPr/>
          <a:lstStyle>
            <a:lvl1pPr>
              <a:defRPr b="1" i="0" spc="0" baseline="0">
                <a:ln>
                  <a:noFill/>
                </a:ln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STYLE</a:t>
            </a:r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419358F5-8169-644A-8D56-1F7CE86586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44E29-DE3A-AB40-BC91-53FD8B93D625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870427803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3816350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4F84BBB-00C0-3440-B83A-FD7821342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6A0E2698-CFB4-5348-82D6-2C8B43CC18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</p:spTree>
    <p:extLst>
      <p:ext uri="{BB962C8B-B14F-4D97-AF65-F5344CB8AC3E}">
        <p14:creationId xmlns:p14="http://schemas.microsoft.com/office/powerpoint/2010/main" val="1389740856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5E0695E-B8B4-BB41-B1AA-0922B91ECB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D5823A5-9DC9-FC47-A61D-B973DFF43A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38B032B-5FFB-A04A-A4E6-95883F5330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4BA0D5D-4B71-E94B-AD62-BDD256CD99A1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299967574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3671660"/>
          </a:xfrm>
          <a:prstGeom prst="rect">
            <a:avLst/>
          </a:prstGeom>
        </p:spPr>
        <p:txBody>
          <a:bodyPr anchor="b"/>
          <a:lstStyle>
            <a:lvl1pPr>
              <a:lnSpc>
                <a:spcPts val="5000"/>
              </a:lnSpc>
              <a:defRPr sz="5000" b="1" i="0" spc="0" baseline="0">
                <a:ln>
                  <a:noFill/>
                </a:ln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 AME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57FDAA5-7831-2B46-B38B-A80F0EE48D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C460590-BBFC-EA43-930E-F3DE8442A0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</p:spTree>
    <p:extLst>
      <p:ext uri="{BB962C8B-B14F-4D97-AF65-F5344CB8AC3E}">
        <p14:creationId xmlns:p14="http://schemas.microsoft.com/office/powerpoint/2010/main" val="3555253409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5"/>
            <a:ext cx="7632700" cy="4219575"/>
          </a:xfrm>
          <a:prstGeom prst="rect">
            <a:avLst/>
          </a:prstGeom>
        </p:spPr>
        <p:txBody>
          <a:bodyPr anchor="b"/>
          <a:lstStyle>
            <a:lvl1pPr>
              <a:lnSpc>
                <a:spcPts val="5000"/>
              </a:lnSpc>
              <a:defRPr sz="5000"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 IPSUM DOLOR SIT AMET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56C3205-F04C-8444-9090-77E3017FFC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B815328-AB68-BC48-85AB-6D766634E1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8501ED-A304-3246-A8D2-A3604BEC9B9A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37323047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8C0C0-EB90-416B-AD15-2FF686FDA0F3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04353-F76A-4FB0-82D0-2891ECD9CF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39561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B65CD49-A430-584B-BF5D-7539BA2AAB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462" r="16067" b="2660"/>
          <a:stretch/>
        </p:blipFill>
        <p:spPr>
          <a:xfrm>
            <a:off x="0" y="0"/>
            <a:ext cx="12190157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2ADE8B3-2EB0-5342-867A-941B7C6D3956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59A79C8C-5B35-984D-A8C3-21075CC8CD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067B6C43-2E54-2C43-B85D-F8D4572F42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2EAF83E-89DC-9747-97CB-9B58541E8B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6EBCFB9-5B44-3849-847A-66372F120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5653D6-D01A-2349-9D17-6471B7641A8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945213798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Par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unset over a body of water&#10;&#10;Description automatically generated">
            <a:extLst>
              <a:ext uri="{FF2B5EF4-FFF2-40B4-BE49-F238E27FC236}">
                <a16:creationId xmlns:a16="http://schemas.microsoft.com/office/drawing/2014/main" id="{E2C68A59-915C-C746-A9EB-2E72F8860E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7503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7A742717-004D-BA49-A7A2-3FF95BE6130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BECC96E-6B06-0648-A582-7E4B6D110A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683C7AB-77F0-8449-A5CB-E1758F73FA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937E815-4A49-844D-A2D2-2587ACEDB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2949FA-972F-5640-88C2-05D3A30BFCDB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385165435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1A277EA-494A-BB4D-B723-B2AC3DF225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17" t="15620" r="3595" b="1440"/>
          <a:stretch/>
        </p:blipFill>
        <p:spPr>
          <a:xfrm flipH="1">
            <a:off x="-19050" y="0"/>
            <a:ext cx="12230100" cy="68770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50C1DD4-A45D-904F-917C-A8DD60875C26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E22F5FCD-102C-A54E-8B2F-36359BE396E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B41B2DA-46F1-3244-A7F7-B9B6E9B744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7D1318C6-5899-AD45-99F8-52A2B38E44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84C7D635-1956-A44F-B408-01DCEDA43F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E0CD8B7-A065-4E48-B23A-60286AA0613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023523032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art p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D1A49A2-612F-EF49-8144-382A1B7E35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69" b="4984"/>
          <a:stretch/>
        </p:blipFill>
        <p:spPr>
          <a:xfrm>
            <a:off x="-19050" y="0"/>
            <a:ext cx="12230100" cy="68770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6102943-B210-B24A-A595-1E83B10FB694}"/>
              </a:ext>
            </a:extLst>
          </p:cNvPr>
          <p:cNvSpPr/>
          <p:nvPr userDrawn="1"/>
        </p:nvSpPr>
        <p:spPr>
          <a:xfrm>
            <a:off x="-19050" y="4564063"/>
            <a:ext cx="12230100" cy="231298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/>
              </a:gs>
            </a:gsLst>
            <a:lin ang="5400000" scaled="0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602" y="613052"/>
            <a:ext cx="4644000" cy="686653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1F40C888-BAA9-3940-BC63-297EC19C5D0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0F80F6E8-3D18-7649-B659-5DA1A04481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65458" y="3592891"/>
            <a:ext cx="2677319" cy="1054100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495C536-172A-E241-8F9A-A63204AC1C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65458" y="4762500"/>
            <a:ext cx="2677319" cy="341691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bg1"/>
                </a:solidFill>
              </a:defRPr>
            </a:lvl1pPr>
            <a:lvl2pPr>
              <a:defRPr sz="1600" b="1">
                <a:solidFill>
                  <a:schemeClr val="tx1"/>
                </a:solidFill>
              </a:defRPr>
            </a:lvl2pPr>
            <a:lvl3pPr>
              <a:defRPr sz="1600" b="1">
                <a:solidFill>
                  <a:schemeClr val="tx1"/>
                </a:solidFill>
              </a:defRPr>
            </a:lvl3pPr>
            <a:lvl4pPr>
              <a:defRPr sz="1600" b="1">
                <a:solidFill>
                  <a:schemeClr val="tx1"/>
                </a:solidFill>
              </a:defRPr>
            </a:lvl4pPr>
            <a:lvl5pPr>
              <a:defRPr sz="1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E54CCD3-4479-BD47-994D-B454BBC68F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1520826"/>
            <a:ext cx="7632700" cy="4353201"/>
          </a:xfrm>
          <a:prstGeom prst="rect">
            <a:avLst/>
          </a:prstGeom>
        </p:spPr>
        <p:txBody>
          <a:bodyPr anchor="b"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LOREM</a:t>
            </a:r>
            <a:r>
              <a:rPr lang="ru-RU" dirty="0"/>
              <a:t> </a:t>
            </a:r>
            <a:r>
              <a:rPr lang="en-US" dirty="0"/>
              <a:t>IPSUM DOLOR SIT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BE2C07B-A6E2-2E4D-8910-A352543DECBF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014224587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DD876CB-863A-4046-AF0D-B77DC7D5D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3051175"/>
            <a:ext cx="7632700" cy="2324100"/>
          </a:xfrm>
          <a:prstGeom prst="rect">
            <a:avLst/>
          </a:prstGeom>
        </p:spPr>
        <p:txBody>
          <a:bodyPr/>
          <a:lstStyle>
            <a:lvl1pPr>
              <a:defRPr b="1" i="0" spc="0" baseline="0">
                <a:ln>
                  <a:noFill/>
                </a:ln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STYLE</a:t>
            </a:r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419358F5-8169-644A-8D56-1F7CE86586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44E29-DE3A-AB40-BC91-53FD8B93D625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398992318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ar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302" y="613052"/>
            <a:ext cx="4644300" cy="687014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419358F5-8169-644A-8D56-1F7CE86586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DD876CB-863A-4046-AF0D-B77DC7D5D3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3051175"/>
            <a:ext cx="7632700" cy="3058680"/>
          </a:xfrm>
          <a:prstGeom prst="rect">
            <a:avLst/>
          </a:prstGeom>
        </p:spPr>
        <p:txBody>
          <a:bodyPr/>
          <a:lstStyle>
            <a:lvl1pPr>
              <a:defRPr b="1" i="0" spc="0" baseline="0">
                <a:ln>
                  <a:noFill/>
                </a:ln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STYLE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32CB07-EAEC-5B4F-A86E-7F459C01A01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52177997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7702A768-64AA-0845-AFC5-7B7BC0178D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43" y="4510277"/>
            <a:ext cx="11490490" cy="8649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9D3A82-A35F-9C45-A832-50098C975E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1008" y="764382"/>
            <a:ext cx="5972247" cy="2810091"/>
          </a:xfrm>
          <a:prstGeom prst="rect">
            <a:avLst/>
          </a:prstGeom>
        </p:spPr>
        <p:txBody>
          <a:bodyPr/>
          <a:lstStyle>
            <a:lvl1pPr>
              <a:lnSpc>
                <a:spcPts val="7000"/>
              </a:lnSpc>
              <a:defRPr sz="7000" b="1" i="0" spc="0" baseline="0">
                <a:ln>
                  <a:noFill/>
                </a:ln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3 СТРОКИ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70</a:t>
            </a:r>
            <a:endParaRPr lang="ru-RU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1C38D33-DF10-7F4F-9209-6C64D696C8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9300" y="5863608"/>
            <a:ext cx="4368800" cy="288062"/>
          </a:xfrm>
          <a:prstGeom prst="rect">
            <a:avLst/>
          </a:prstGeom>
        </p:spPr>
        <p:txBody>
          <a:bodyPr lIns="0" anchor="b">
            <a:noAutofit/>
          </a:bodyPr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19 апреля 2019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58CFEDE2-8069-EF4F-AF6C-23F26EF54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9300" y="4749295"/>
            <a:ext cx="4368800" cy="1002550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/>
            </a:r>
            <a:br>
              <a:rPr lang="ru-RU" dirty="0"/>
            </a:br>
            <a:r>
              <a:rPr lang="ru-RU" dirty="0"/>
              <a:t>ФИО и 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406168520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7A55AF-6307-8746-A13E-4985D51B595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77169" y="4241736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EA5E3BE-4FDD-6F4A-A2E2-89D975A0A63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69" y="3154906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CEBEF92-7BB0-ED4C-B41E-2510318AA13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77169" y="2073271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FEF0BC5-0AF7-2845-B87D-26245C3643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477169" y="5318175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4C112D2-12A3-1B45-9266-CAA2B0BED8B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0733" y="5318175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B937DB4-63ED-7543-8192-82719AF728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0733" y="4241736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2F3753F-635D-3544-ADC5-6F42D9E302E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0733" y="3154906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BFE42A7-031D-E843-8CBF-F9560939A7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90733" y="2073271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32" name="Title 6">
            <a:extLst>
              <a:ext uri="{FF2B5EF4-FFF2-40B4-BE49-F238E27FC236}">
                <a16:creationId xmlns:a16="http://schemas.microsoft.com/office/drawing/2014/main" id="{1CCAE8E7-5A3B-834D-AB59-BBE0C2DD3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33" name="Новый бренд МТС">
            <a:extLst>
              <a:ext uri="{FF2B5EF4-FFF2-40B4-BE49-F238E27FC236}">
                <a16:creationId xmlns:a16="http://schemas.microsoft.com/office/drawing/2014/main" id="{04448189-3372-5E4A-BB95-19CA1916B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3137" y="214468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4" name="Новый бренд МТС">
            <a:extLst>
              <a:ext uri="{FF2B5EF4-FFF2-40B4-BE49-F238E27FC236}">
                <a16:creationId xmlns:a16="http://schemas.microsoft.com/office/drawing/2014/main" id="{2B9FA665-6B74-6D4F-B94F-9673CBEC3B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93137" y="322730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6" name="Новый бренд МТС">
            <a:extLst>
              <a:ext uri="{FF2B5EF4-FFF2-40B4-BE49-F238E27FC236}">
                <a16:creationId xmlns:a16="http://schemas.microsoft.com/office/drawing/2014/main" id="{F815A556-57BA-4D41-A36C-4503313A3E2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93137" y="539253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7" name="Новый бренд МТС">
            <a:extLst>
              <a:ext uri="{FF2B5EF4-FFF2-40B4-BE49-F238E27FC236}">
                <a16:creationId xmlns:a16="http://schemas.microsoft.com/office/drawing/2014/main" id="{148BE9AD-50C1-1746-AE8A-A010A0ECAD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69907" y="214468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8" name="Новый бренд МТС">
            <a:extLst>
              <a:ext uri="{FF2B5EF4-FFF2-40B4-BE49-F238E27FC236}">
                <a16:creationId xmlns:a16="http://schemas.microsoft.com/office/drawing/2014/main" id="{EF0A133A-CC4C-5A40-913A-143DAA2EE6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9907" y="322730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9" name="Новый бренд МТС">
            <a:extLst>
              <a:ext uri="{FF2B5EF4-FFF2-40B4-BE49-F238E27FC236}">
                <a16:creationId xmlns:a16="http://schemas.microsoft.com/office/drawing/2014/main" id="{D1288B40-C5F5-4740-B182-27F8BD10238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69907" y="539253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0" name="Новый бренд МТС">
            <a:extLst>
              <a:ext uri="{FF2B5EF4-FFF2-40B4-BE49-F238E27FC236}">
                <a16:creationId xmlns:a16="http://schemas.microsoft.com/office/drawing/2014/main" id="{A8529481-2954-4943-BD0D-E8A19E3530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93137" y="430991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1" name="Новый бренд МТС">
            <a:extLst>
              <a:ext uri="{FF2B5EF4-FFF2-40B4-BE49-F238E27FC236}">
                <a16:creationId xmlns:a16="http://schemas.microsoft.com/office/drawing/2014/main" id="{C9C0A0F7-1904-8D48-97FD-62277BBDE0E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69907" y="430991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46F529C-51FA-3145-B64E-C3C737A67DB3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43" name="Freeform 42">
            <a:extLst>
              <a:ext uri="{FF2B5EF4-FFF2-40B4-BE49-F238E27FC236}">
                <a16:creationId xmlns:a16="http://schemas.microsoft.com/office/drawing/2014/main" id="{1488D229-F48C-0948-B589-F017A9DEABB9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44" name="Graphic 43">
            <a:extLst>
              <a:ext uri="{FF2B5EF4-FFF2-40B4-BE49-F238E27FC236}">
                <a16:creationId xmlns:a16="http://schemas.microsoft.com/office/drawing/2014/main" id="{7141D4DC-1150-CA49-BE0F-440CD0AFF5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600753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7A55AF-6307-8746-A13E-4985D51B595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77169" y="4229100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EA5E3BE-4FDD-6F4A-A2E2-89D975A0A63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69" y="3138055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CEBEF92-7BB0-ED4C-B41E-2510318AA13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77169" y="2057400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FEF0BC5-0AF7-2845-B87D-26245C3643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477169" y="5299364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4C112D2-12A3-1B45-9266-CAA2B0BED8B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090733" y="5299364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AB937DB4-63ED-7543-8192-82719AF728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0733" y="4229100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92F3753F-635D-3544-ADC5-6F42D9E302E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090733" y="3148445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BFE42A7-031D-E843-8CBF-F9560939A70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090733" y="2067791"/>
            <a:ext cx="802481" cy="785019"/>
          </a:xfrm>
        </p:spPr>
        <p:txBody>
          <a:bodyPr anchor="ctr">
            <a:normAutofit/>
          </a:bodyPr>
          <a:lstStyle>
            <a:lvl1pPr algn="ctr">
              <a:defRPr sz="4000" b="1" i="0">
                <a:solidFill>
                  <a:srgbClr val="EC34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•</a:t>
            </a:r>
          </a:p>
        </p:txBody>
      </p:sp>
      <p:sp>
        <p:nvSpPr>
          <p:cNvPr id="21" name="Новый бренд МТС">
            <a:extLst>
              <a:ext uri="{FF2B5EF4-FFF2-40B4-BE49-F238E27FC236}">
                <a16:creationId xmlns:a16="http://schemas.microsoft.com/office/drawing/2014/main" id="{C4F36D7C-F143-BC42-B610-81DF4FC814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3137" y="214468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5" name="Новый бренд МТС">
            <a:extLst>
              <a:ext uri="{FF2B5EF4-FFF2-40B4-BE49-F238E27FC236}">
                <a16:creationId xmlns:a16="http://schemas.microsoft.com/office/drawing/2014/main" id="{1CAFD018-A154-7D45-AD61-F901157E98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93137" y="322730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6" name="Новый бренд МТС">
            <a:extLst>
              <a:ext uri="{FF2B5EF4-FFF2-40B4-BE49-F238E27FC236}">
                <a16:creationId xmlns:a16="http://schemas.microsoft.com/office/drawing/2014/main" id="{D8635280-38B6-1847-83F7-39F714BDF9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93137" y="539253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1" name="Новый бренд МТС">
            <a:extLst>
              <a:ext uri="{FF2B5EF4-FFF2-40B4-BE49-F238E27FC236}">
                <a16:creationId xmlns:a16="http://schemas.microsoft.com/office/drawing/2014/main" id="{0A9F586A-33B5-A94E-BDEA-7187E904EA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69907" y="214468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2" name="Новый бренд МТС">
            <a:extLst>
              <a:ext uri="{FF2B5EF4-FFF2-40B4-BE49-F238E27FC236}">
                <a16:creationId xmlns:a16="http://schemas.microsoft.com/office/drawing/2014/main" id="{82BAE4F9-D929-AD41-9186-7AF86F4AF3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9907" y="322730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3" name="Новый бренд МТС">
            <a:extLst>
              <a:ext uri="{FF2B5EF4-FFF2-40B4-BE49-F238E27FC236}">
                <a16:creationId xmlns:a16="http://schemas.microsoft.com/office/drawing/2014/main" id="{DCBB2CB7-0122-6C47-BDC6-13F8FC6FBF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69907" y="539253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4" name="Новый бренд МТС">
            <a:extLst>
              <a:ext uri="{FF2B5EF4-FFF2-40B4-BE49-F238E27FC236}">
                <a16:creationId xmlns:a16="http://schemas.microsoft.com/office/drawing/2014/main" id="{AE03A7EF-1A5A-E644-8E28-690DDDA32A5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93137" y="430991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5" name="Новый бренд МТС">
            <a:extLst>
              <a:ext uri="{FF2B5EF4-FFF2-40B4-BE49-F238E27FC236}">
                <a16:creationId xmlns:a16="http://schemas.microsoft.com/office/drawing/2014/main" id="{027EAD1B-22AE-904A-8D11-6E997C5EE5F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69907" y="430991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24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31" name="Title 6">
            <a:extLst>
              <a:ext uri="{FF2B5EF4-FFF2-40B4-BE49-F238E27FC236}">
                <a16:creationId xmlns:a16="http://schemas.microsoft.com/office/drawing/2014/main" id="{EE00DF5D-8A69-7846-9C01-595762A755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55A1A7F-CD3A-9B4F-AEDC-A12B516010C0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39" name="Freeform 38">
            <a:extLst>
              <a:ext uri="{FF2B5EF4-FFF2-40B4-BE49-F238E27FC236}">
                <a16:creationId xmlns:a16="http://schemas.microsoft.com/office/drawing/2014/main" id="{9C4D0A11-7D8B-AB47-B73A-AE41640DD91B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C79F2BD9-E64B-CD48-BDD9-E68A282CBA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044153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5847494-E511-3840-8E59-5080A956783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477169" y="2057400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CB8721DB-1EFC-6147-8A6F-5FA1CCD3442F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477169" y="3127664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45D13340-8F5F-B84A-905F-B28792872313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1477169" y="4218710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D98452CF-E7C4-3245-9D99-8937CB492264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1477169" y="5309755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6069E9D7-4BEF-0D48-97F2-098BFE7F41DC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059560" y="2057400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A697B0BE-7C51-954F-A46D-0E9302149128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6059560" y="3127664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0473A790-4FBB-564E-959C-077A5EFD7B39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059560" y="4218710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935208A5-8C57-244B-B770-0FB153F58870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6059560" y="5309755"/>
            <a:ext cx="802481" cy="795338"/>
          </a:xfrm>
        </p:spPr>
        <p:txBody>
          <a:bodyPr anchor="ctr">
            <a:normAutofit/>
          </a:bodyPr>
          <a:lstStyle>
            <a:lvl1pPr algn="ctr">
              <a:defRPr sz="1000" b="1" i="0">
                <a:solidFill>
                  <a:srgbClr val="EC3422"/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21" name="Новый бренд МТС">
            <a:extLst>
              <a:ext uri="{FF2B5EF4-FFF2-40B4-BE49-F238E27FC236}">
                <a16:creationId xmlns:a16="http://schemas.microsoft.com/office/drawing/2014/main" id="{E2CEEB16-EA85-B746-92AD-6C2B21911A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3137" y="214468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5" name="Новый бренд МТС">
            <a:extLst>
              <a:ext uri="{FF2B5EF4-FFF2-40B4-BE49-F238E27FC236}">
                <a16:creationId xmlns:a16="http://schemas.microsoft.com/office/drawing/2014/main" id="{EA330397-865A-9B4B-8359-AA036B4A05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93137" y="322730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6" name="Новый бренд МТС">
            <a:extLst>
              <a:ext uri="{FF2B5EF4-FFF2-40B4-BE49-F238E27FC236}">
                <a16:creationId xmlns:a16="http://schemas.microsoft.com/office/drawing/2014/main" id="{69325EE4-03E6-464B-9EE1-0A8C2712CA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93137" y="539253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1" name="Новый бренд МТС">
            <a:extLst>
              <a:ext uri="{FF2B5EF4-FFF2-40B4-BE49-F238E27FC236}">
                <a16:creationId xmlns:a16="http://schemas.microsoft.com/office/drawing/2014/main" id="{C2114617-EB06-DD4F-AAFD-13C29F26AE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69907" y="214468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2" name="Новый бренд МТС">
            <a:extLst>
              <a:ext uri="{FF2B5EF4-FFF2-40B4-BE49-F238E27FC236}">
                <a16:creationId xmlns:a16="http://schemas.microsoft.com/office/drawing/2014/main" id="{299EDD4B-1D59-CE4B-8B83-0E0BEBEDC3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69907" y="322730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3" name="Новый бренд МТС">
            <a:extLst>
              <a:ext uri="{FF2B5EF4-FFF2-40B4-BE49-F238E27FC236}">
                <a16:creationId xmlns:a16="http://schemas.microsoft.com/office/drawing/2014/main" id="{55C0CA29-7BFD-3B4B-893F-85B9378BD1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69907" y="5392531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4" name="Новый бренд МТС">
            <a:extLst>
              <a:ext uri="{FF2B5EF4-FFF2-40B4-BE49-F238E27FC236}">
                <a16:creationId xmlns:a16="http://schemas.microsoft.com/office/drawing/2014/main" id="{7D0B3219-6110-E944-BF70-0CE9FDBE0D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93137" y="430991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45" name="Новый бренд МТС">
            <a:extLst>
              <a:ext uri="{FF2B5EF4-FFF2-40B4-BE49-F238E27FC236}">
                <a16:creationId xmlns:a16="http://schemas.microsoft.com/office/drawing/2014/main" id="{0C254055-F809-6448-8399-C50719EDDD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69907" y="4309916"/>
            <a:ext cx="3114906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звание раздела </a:t>
            </a:r>
            <a:br>
              <a:rPr lang="ru-RU" dirty="0"/>
            </a:br>
            <a:r>
              <a:rPr lang="ru-RU" dirty="0"/>
              <a:t>Шрифт 12 </a:t>
            </a:r>
            <a:r>
              <a:rPr lang="en-US" dirty="0"/>
              <a:t>pt. </a:t>
            </a:r>
            <a:r>
              <a:rPr lang="ru-RU" dirty="0"/>
              <a:t>Максимальный размер — три строки</a:t>
            </a:r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BF1E6E3E-B542-7F4E-82C9-21B63DB91B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A7A5B7-628D-314D-A848-9FB6FD196F3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8C4BA694-D491-274B-8818-FF6A898453C6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2A12888F-04FA-1846-BE1E-2E3FD970CD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585392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8C0C0-EB90-416B-AD15-2FF686FDA0F3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04353-F76A-4FB0-82D0-2891ECD9CF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87995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23103B6-E463-F44B-B177-DA7DEB84E3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1040" y="1520825"/>
            <a:ext cx="9185910" cy="3584137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7000" b="1" baseline="0"/>
            </a:lvl1pPr>
          </a:lstStyle>
          <a:p>
            <a:r>
              <a:rPr lang="ru-RU" dirty="0"/>
              <a:t>ЗАГОЛОВОК РАЗДЕЛА</a:t>
            </a:r>
            <a:br>
              <a:rPr lang="ru-RU" dirty="0"/>
            </a:br>
            <a:r>
              <a:rPr lang="ru-RU" dirty="0"/>
              <a:t>НЕ БОЛЕЕ 4 СТРОК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70</a:t>
            </a:r>
            <a:endParaRPr lang="ru-RU" dirty="0"/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86FDD53E-D4FC-E342-9D4D-114A7370F9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87C472B-2AEA-A94D-AE48-B75319797AA4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212633956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8E278718-BBF2-C343-8D84-451A06BD46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34" name="Новый бренд МТС"/>
          <p:cNvSpPr>
            <a:spLocks noGrp="1"/>
          </p:cNvSpPr>
          <p:nvPr>
            <p:ph type="body" sz="quarter" idx="14"/>
          </p:nvPr>
        </p:nvSpPr>
        <p:spPr>
          <a:xfrm>
            <a:off x="1519952" y="5614347"/>
            <a:ext cx="2417650" cy="38472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9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dirty="0" err="1"/>
              <a:t>Новый</a:t>
            </a:r>
            <a:r>
              <a:rPr dirty="0"/>
              <a:t> </a:t>
            </a:r>
            <a:r>
              <a:rPr dirty="0" err="1"/>
              <a:t>бренд</a:t>
            </a:r>
            <a:r>
              <a:rPr dirty="0"/>
              <a:t> МТС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23103B6-E463-F44B-B177-DA7DEB84E3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0422" y="1520825"/>
            <a:ext cx="9185910" cy="2119760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7000" b="1"/>
            </a:lvl1pPr>
          </a:lstStyle>
          <a:p>
            <a:r>
              <a:rPr lang="ru-RU" dirty="0"/>
              <a:t>ЗАГОЛОВОК РАЗДЕЛА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70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2757D01-F4E0-9641-B5A6-32E5C1961159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23941562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phic 17">
            <a:extLst>
              <a:ext uri="{FF2B5EF4-FFF2-40B4-BE49-F238E27FC236}">
                <a16:creationId xmlns:a16="http://schemas.microsoft.com/office/drawing/2014/main" id="{8D1D6EA0-CEDE-D046-B9A9-C8526AC269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505B5473-A274-C340-B267-DCA3B5D50F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5300" y="764381"/>
            <a:ext cx="7633494" cy="5712619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ts val="7000"/>
              </a:lnSpc>
              <a:defRPr sz="8500" b="1"/>
            </a:lvl1pPr>
          </a:lstStyle>
          <a:p>
            <a:r>
              <a:rPr lang="ru-RU" dirty="0"/>
              <a:t>ЗАГОЛОВОК РАЗДЕЛА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5360B9-0443-5747-A0C9-77728530E6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6293" y="764382"/>
            <a:ext cx="3059906" cy="5329238"/>
          </a:xfrm>
        </p:spPr>
        <p:txBody>
          <a:bodyPr anchor="ctr">
            <a:noAutofit/>
          </a:bodyPr>
          <a:lstStyle>
            <a:lvl1pPr marL="0" marR="0" indent="0" algn="ctr" defTabSz="41275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ru-RU" sz="20000" b="1" i="0" u="none" strike="noStrike" cap="none" spc="0" normalizeH="0" baseline="0" dirty="0">
                <a:ln>
                  <a:noFill/>
                </a:ln>
                <a:solidFill>
                  <a:srgbClr val="E30611"/>
                </a:solidFill>
                <a:effectLst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defRPr>
            </a:lvl1pPr>
          </a:lstStyle>
          <a:p>
            <a:pPr lvl="0"/>
            <a:r>
              <a:rPr lang="ru-RU" dirty="0"/>
              <a:t>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EF0C08-AFCB-9B48-9778-2E65D107249C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768637977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E91EFA-7FEC-0A43-A2D5-D22AC378C7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9300" y="2277270"/>
            <a:ext cx="10693400" cy="3816349"/>
          </a:xfrm>
        </p:spPr>
        <p:txBody>
          <a:bodyPr anchor="t"/>
          <a:lstStyle>
            <a:lvl1pPr marL="342900" indent="-34290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2pPr>
            <a:lvl3pPr marL="285750" indent="-28575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3pPr>
            <a:lvl4pPr marL="228600" indent="-22860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4pPr>
            <a:lvl5pPr marL="171450" indent="-171450">
              <a:buClr>
                <a:srgbClr val="EE2023"/>
              </a:buClr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5D3C16F-BFD3-5C45-8A75-F945243BD0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B724BC-E703-6F48-9C51-34DA45DA1D84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81B983CD-8697-7A4C-98BF-C96A504EBB60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3C623C0-AA65-6D47-BD56-F2E05B18AD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112950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FE8323F-1274-FE48-AB43-C1F11401E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300" y="2277269"/>
            <a:ext cx="10693400" cy="3816350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04F91A0-6CBA-CE4D-B28B-FC4B603A8A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B0C67E-DB71-B244-B5C9-BCF0AFCBF939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1C46BB97-1169-B443-85FB-E19F10BE09F5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EC82D7FF-459A-6E42-8EFC-860968E794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766909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FE8323F-1274-FE48-AB43-C1F11401E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300" y="2277269"/>
            <a:ext cx="10693400" cy="2303463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4394C6-6CB3-414D-980E-E55C69C693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9300" y="4889501"/>
            <a:ext cx="10693400" cy="1204119"/>
          </a:xfrm>
        </p:spPr>
        <p:txBody>
          <a:bodyPr anchor="t">
            <a:normAutofit/>
          </a:bodyPr>
          <a:lstStyle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F0484485-25C4-C345-BB83-6D620C281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65DBE7-86BE-3648-9779-6BE17DC80669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77148874-7492-5341-BDC5-70A3B039F77B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E695024-E239-A345-840A-58DE04D72F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794618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FE8323F-1274-FE48-AB43-C1F11401E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300" y="2277269"/>
            <a:ext cx="6858794" cy="3816350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8EA36788-F45B-6746-920F-7097E4ADFB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A0ECE4-64E8-8644-9420-C7FE5B6D0BC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82F48EF1-5CB6-C547-A88F-9B957EA7866B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F72DAF8-35EE-AD4C-A0EB-C8DB737D60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B98B01D-A7B4-EB42-B273-981A725EC4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0" y="2277269"/>
            <a:ext cx="3060700" cy="3816351"/>
          </a:xfrm>
        </p:spPr>
        <p:txBody>
          <a:bodyPr anchor="t">
            <a:normAutofit/>
          </a:bodyPr>
          <a:lstStyle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8822310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64E4D4CB-1300-134C-8543-5FC129510DB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749300" y="2277269"/>
            <a:ext cx="10693400" cy="3816350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C23D7F3-2DA4-9A4A-928F-C434683A8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FDD337-ED76-DF40-8597-610D19EE3022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EDA16D18-5825-8649-8E10-DE7B85CCF766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906933F-AD30-B347-B94E-25271E3B19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204380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64E4D4CB-1300-134C-8543-5FC129510DB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749300" y="2277269"/>
            <a:ext cx="10693400" cy="2286000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0EA5E0-6CE3-A34E-8DE7-1987BDF1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9300" y="4872038"/>
            <a:ext cx="10693400" cy="1221581"/>
          </a:xfrm>
        </p:spPr>
        <p:txBody>
          <a:bodyPr anchor="t">
            <a:normAutofit/>
          </a:bodyPr>
          <a:lstStyle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8CF2872C-98C2-854C-A278-A2A7EAAE00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514D04-509E-FE47-85CB-399929EBAA59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267F65E9-F813-984F-BEAC-FA8A9DF4DCF1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56EDBE6-3EA2-A444-9092-7C2D85ECF1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475932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64E4D4CB-1300-134C-8543-5FC129510DB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749300" y="2277269"/>
            <a:ext cx="6858794" cy="3816350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F9A9922D-6163-6D40-86E1-E5C5B47796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A127C7-A035-4541-98FB-F82D349DC202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9D757440-856A-E644-85AB-677FD3762B6F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3681080-3FD0-3E41-BA80-B5DE6B16BD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46A7C22-501C-B84C-BFB3-C891C57C2CF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0" y="2277269"/>
            <a:ext cx="3060700" cy="3816351"/>
          </a:xfrm>
        </p:spPr>
        <p:txBody>
          <a:bodyPr anchor="t">
            <a:normAutofit/>
          </a:bodyPr>
          <a:lstStyle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2151120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8C0C0-EB90-416B-AD15-2FF686FDA0F3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04353-F76A-4FB0-82D0-2891ECD9CF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06334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D1BCA763-FD75-6049-B7F8-A5ADAB15B67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749300" y="2277269"/>
            <a:ext cx="10693400" cy="3816350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76B9C43-6EDF-5B44-BDF5-C1A6D61A97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638DC0-7D48-524C-B249-82C683A68A4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E2AB87F8-A45C-FB47-8F7E-61A0861B9157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4023556-9E1C-894E-BADB-6B857730D4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65263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0EA5E0-6CE3-A34E-8DE7-1987BDF1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9300" y="4889501"/>
            <a:ext cx="10693400" cy="1204119"/>
          </a:xfrm>
        </p:spPr>
        <p:txBody>
          <a:bodyPr anchor="t">
            <a:normAutofit/>
          </a:bodyPr>
          <a:lstStyle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CE539725-06A8-F14F-95E3-C78D46209C25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749300" y="2277269"/>
            <a:ext cx="10693400" cy="2303463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FE2FEF72-9E38-3E41-B705-98C180DAB3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A0BD0B-F23A-B042-AE9A-12238BAB7DF8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E3608F7C-B20C-CB46-8645-A4CC0F9BBD30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E6B78F4-BA2A-C049-8D67-CAA6F064B4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766238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0EA5E0-6CE3-A34E-8DE7-1987BDF1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0" y="2277269"/>
            <a:ext cx="3060700" cy="3816351"/>
          </a:xfrm>
        </p:spPr>
        <p:txBody>
          <a:bodyPr anchor="t">
            <a:normAutofit/>
          </a:bodyPr>
          <a:lstStyle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DDBCAFBD-2662-B64C-ABF3-3BCF09B6C6C7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749300" y="2277269"/>
            <a:ext cx="6858794" cy="3816350"/>
          </a:xfrm>
        </p:spPr>
        <p:txBody>
          <a:bodyPr anchor="ctr"/>
          <a:lstStyle>
            <a:lvl1pPr algn="ctr">
              <a:defRPr/>
            </a:lvl1pPr>
          </a:lstStyle>
          <a:p>
            <a:endParaRPr lang="ru-RU"/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EDEEDE8F-DC6C-D34B-A691-DE2E3453E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F7C1B0-6DC5-2548-A259-FB5CED71F980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76D53ABA-0A47-D244-8D8A-2386895FFEEE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FB14521-FE16-2D43-8806-2D2737749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484676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0EA5E0-6CE3-A34E-8DE7-1987BDF197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0" y="4580732"/>
            <a:ext cx="5346700" cy="1512888"/>
          </a:xfrm>
        </p:spPr>
        <p:txBody>
          <a:bodyPr anchor="t">
            <a:normAutofit/>
          </a:bodyPr>
          <a:lstStyle>
            <a:lvl1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8E34AFF-3741-6948-9F95-CCF9998384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20855E8-199E-564E-8025-1BA915DDEB8B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CB27D9FB-EA33-344D-81EE-1309501DFEE0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718D72F-9497-844E-8836-7D70F63876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834010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B716574F-E7B5-754B-BE28-D290384423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34" name="Новый бренд МТС"/>
          <p:cNvSpPr>
            <a:spLocks noGrp="1"/>
          </p:cNvSpPr>
          <p:nvPr>
            <p:ph type="body" sz="quarter" idx="14"/>
          </p:nvPr>
        </p:nvSpPr>
        <p:spPr>
          <a:xfrm>
            <a:off x="728890" y="5644438"/>
            <a:ext cx="2417650" cy="384721"/>
          </a:xfrm>
          <a:prstGeom prst="rect">
            <a:avLst/>
          </a:prstGeom>
        </p:spPr>
        <p:txBody>
          <a:bodyPr wrap="none">
            <a:spAutoFit/>
          </a:bodyPr>
          <a:lstStyle>
            <a:lvl1pPr algn="l">
              <a:defRPr sz="1900">
                <a:solidFill>
                  <a:srgbClr val="FFFFFF"/>
                </a:solidFill>
              </a:defRPr>
            </a:lvl1pPr>
          </a:lstStyle>
          <a:p>
            <a:r>
              <a:rPr dirty="0" err="1"/>
              <a:t>Новый</a:t>
            </a:r>
            <a:r>
              <a:rPr dirty="0"/>
              <a:t> </a:t>
            </a:r>
            <a:r>
              <a:rPr dirty="0" err="1"/>
              <a:t>бренд</a:t>
            </a:r>
            <a:r>
              <a:rPr dirty="0"/>
              <a:t> МТС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F94C552-8C05-4B40-BE5D-8FDF5F541EE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8890" y="2277269"/>
            <a:ext cx="6828404" cy="2286000"/>
          </a:xfrm>
        </p:spPr>
        <p:txBody>
          <a:bodyPr anchor="t"/>
          <a:lstStyle>
            <a:lvl1pPr marL="342900" indent="-342900">
              <a:buClr>
                <a:srgbClr val="ED1C24"/>
              </a:buClr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5750" indent="-285750">
              <a:buClr>
                <a:srgbClr val="ED1C24"/>
              </a:buClr>
              <a:buFont typeface="Arial" panose="020B0604020202020204" pitchFamily="34" charset="0"/>
              <a:buChar char="•"/>
              <a:defRPr/>
            </a:lvl2pPr>
            <a:lvl3pPr marL="285750" indent="-285750">
              <a:buClr>
                <a:srgbClr val="ED1C24"/>
              </a:buClr>
              <a:buFont typeface="Arial" panose="020B0604020202020204" pitchFamily="34" charset="0"/>
              <a:buChar char="•"/>
              <a:defRPr/>
            </a:lvl3pPr>
            <a:lvl4pPr marL="228600" indent="-228600">
              <a:buClr>
                <a:srgbClr val="ED1C24"/>
              </a:buClr>
              <a:buFont typeface="Arial" panose="020B0604020202020204" pitchFamily="34" charset="0"/>
              <a:buChar char="•"/>
              <a:defRPr/>
            </a:lvl4pPr>
            <a:lvl5pPr marL="171450" indent="-171450">
              <a:buClr>
                <a:srgbClr val="ED1C24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182CC38E-5483-AE42-BC12-4E9A0362DA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8979C2-8B62-484B-A61A-F1C200EE7863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963255213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7E91EFA-7FEC-0A43-A2D5-D22AC378C7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9300" y="2277269"/>
            <a:ext cx="10693400" cy="3816350"/>
          </a:xfrm>
        </p:spPr>
        <p:txBody>
          <a:bodyPr anchor="t">
            <a:normAutofit/>
          </a:bodyPr>
          <a:lstStyle>
            <a:lvl1pPr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EC59085-07A3-214E-AF26-97C94DFA0F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028FB29-D343-C542-90EC-C301E624D593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1D3925A8-D5D6-794B-9ABA-ECB577129D3D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A0CAC76-73A6-634A-B89C-BC4B887EEC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691983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5064C05-E44F-FD42-8F6C-5EE59B896BD6}"/>
              </a:ext>
            </a:extLst>
          </p:cNvPr>
          <p:cNvSpPr>
            <a:spLocks noGrp="1"/>
          </p:cNvSpPr>
          <p:nvPr>
            <p:ph type="chart" sz="quarter" idx="10" hasCustomPrompt="1"/>
          </p:nvPr>
        </p:nvSpPr>
        <p:spPr>
          <a:xfrm>
            <a:off x="749300" y="2277269"/>
            <a:ext cx="6103144" cy="3816350"/>
          </a:xfrm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r>
              <a:rPr lang="en-US" dirty="0"/>
              <a:t>Chart</a:t>
            </a:r>
            <a:endParaRPr lang="ru-RU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943375F-128A-6240-BD8D-43B1141F3E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08094" y="3051175"/>
            <a:ext cx="3834606" cy="2286000"/>
          </a:xfrm>
        </p:spPr>
        <p:txBody>
          <a:bodyPr anchor="t">
            <a:normAutofit/>
          </a:bodyPr>
          <a:lstStyle>
            <a:lvl1pPr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48CE21D7-697E-0F4C-8232-712E302B86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11B7AC9-AB0D-4443-8C4C-426E2432E6C8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95842C58-A4EA-F048-BC76-BCFA53700846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78F6ED2-0F0D-6C4D-BF0B-D34461B4EF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032252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E9269D78-5C09-9F41-A835-32E36F011CF7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749300" y="2277269"/>
            <a:ext cx="10706100" cy="3816350"/>
          </a:xfrm>
        </p:spPr>
        <p:txBody>
          <a:bodyPr anchor="ctr"/>
          <a:lstStyle>
            <a:lvl1pPr algn="ctr">
              <a:defRPr>
                <a:solidFill>
                  <a:schemeClr val="bg1">
                    <a:alpha val="51000"/>
                  </a:schemeClr>
                </a:solidFill>
              </a:defRPr>
            </a:lvl1pPr>
          </a:lstStyle>
          <a:p>
            <a:r>
              <a:rPr lang="en-US" dirty="0"/>
              <a:t>Table</a:t>
            </a:r>
            <a:endParaRPr lang="ru-RU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D8AF03C-B5A0-CB4E-83D8-6F744DC35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0A2E27-7E18-AC4F-9371-B72A757A04D1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3850DA40-ABDD-514A-876D-19301609E18F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90688CE-2903-E540-8122-2C83A0FADE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769785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476DB32-43B4-B743-86B0-C23657D70A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t="8458" b="9880"/>
          <a:stretch/>
        </p:blipFill>
        <p:spPr>
          <a:xfrm>
            <a:off x="9774044" y="764382"/>
            <a:ext cx="2417956" cy="394908"/>
          </a:xfrm>
          <a:prstGeom prst="rect">
            <a:avLst/>
          </a:prstGeo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943375F-128A-6240-BD8D-43B1141F3E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9906" y="3806825"/>
            <a:ext cx="4572794" cy="2286000"/>
          </a:xfrm>
        </p:spPr>
        <p:txBody>
          <a:bodyPr anchor="t"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F685A7D-55FA-1F40-AA6D-E96F6CE54F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3A0ADE13-A7C5-C645-AD41-75D2D90228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69907" y="2277269"/>
            <a:ext cx="4554537" cy="15049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ts val="38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8618F4-66F0-C74F-8A90-857635D9D87B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591243739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B7E9B546-9441-CB48-A184-878A9C9A49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4552950"/>
            <a:ext cx="6096000" cy="2287588"/>
          </a:xfrm>
          <a:ln w="63500">
            <a:solidFill>
              <a:schemeClr val="bg1"/>
            </a:solidFill>
          </a:ln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943375F-128A-6240-BD8D-43B1141F3E3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9300" y="2277269"/>
            <a:ext cx="4590257" cy="3815556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92E3BB7C-17AB-1F4A-9421-314026B04A6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2286000"/>
            <a:ext cx="3060700" cy="2266950"/>
          </a:xfrm>
          <a:ln w="63500">
            <a:solidFill>
              <a:schemeClr val="bg1"/>
            </a:solidFill>
          </a:ln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E01DE758-7FE8-6A4D-95EB-E658F91CA8C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44000" y="2305050"/>
            <a:ext cx="3048000" cy="2247900"/>
          </a:xfrm>
          <a:ln w="63500">
            <a:solidFill>
              <a:schemeClr val="bg1"/>
            </a:solidFill>
          </a:ln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FB58799E-0300-9043-8CF1-F4E0B933BE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9300" y="571894"/>
            <a:ext cx="10693400" cy="1512888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800" b="1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СЛАЙДА. </a:t>
            </a:r>
            <a:br>
              <a:rPr lang="ru-RU" dirty="0"/>
            </a:br>
            <a:r>
              <a:rPr lang="ru-RU" dirty="0"/>
              <a:t>ШРИФТ </a:t>
            </a:r>
            <a:r>
              <a:rPr lang="en-US" dirty="0"/>
              <a:t>28pt</a:t>
            </a:r>
            <a:endParaRPr lang="ru-R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645E874-5469-BE49-8FDB-FCCC8A084833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3466E4B0-7E18-0C4B-B736-3D9C6A9198D0}"/>
              </a:ext>
            </a:extLst>
          </p:cNvPr>
          <p:cNvSpPr/>
          <p:nvPr userDrawn="1"/>
        </p:nvSpPr>
        <p:spPr>
          <a:xfrm>
            <a:off x="-10189" y="-13447"/>
            <a:ext cx="12202189" cy="107577"/>
          </a:xfrm>
          <a:custGeom>
            <a:avLst/>
            <a:gdLst>
              <a:gd name="connsiteX0" fmla="*/ 0 w 9990520"/>
              <a:gd name="connsiteY0" fmla="*/ 0 h 1512866"/>
              <a:gd name="connsiteX1" fmla="*/ 9994805 w 9990520"/>
              <a:gd name="connsiteY1" fmla="*/ 0 h 1512866"/>
              <a:gd name="connsiteX2" fmla="*/ 9994805 w 9990520"/>
              <a:gd name="connsiteY2" fmla="*/ 1516687 h 1512866"/>
              <a:gd name="connsiteX3" fmla="*/ 0 w 9990520"/>
              <a:gd name="connsiteY3" fmla="*/ 1516687 h 1512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90520" h="1512866">
                <a:moveTo>
                  <a:pt x="0" y="0"/>
                </a:moveTo>
                <a:lnTo>
                  <a:pt x="9994805" y="0"/>
                </a:lnTo>
                <a:lnTo>
                  <a:pt x="9994805" y="1516687"/>
                </a:lnTo>
                <a:lnTo>
                  <a:pt x="0" y="1516687"/>
                </a:lnTo>
                <a:close/>
              </a:path>
            </a:pathLst>
          </a:custGeom>
          <a:gradFill flip="none" rotWithShape="1">
            <a:gsLst>
              <a:gs pos="0">
                <a:srgbClr val="E30611">
                  <a:alpha val="0"/>
                </a:srgbClr>
              </a:gs>
              <a:gs pos="28000">
                <a:srgbClr val="E30611"/>
              </a:gs>
            </a:gsLst>
            <a:lin ang="0" scaled="1"/>
            <a:tileRect/>
          </a:gradFill>
          <a:ln w="46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75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0122218-033E-C749-8860-9662A1B56F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1284" y="6298433"/>
            <a:ext cx="1264337" cy="34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816793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8C0C0-EB90-416B-AD15-2FF686FDA0F3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04353-F76A-4FB0-82D0-2891ECD9CF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59743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8C0C0-EB90-416B-AD15-2FF686FDA0F3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04353-F76A-4FB0-82D0-2891ECD9CF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87941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8C0C0-EB90-416B-AD15-2FF686FDA0F3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04353-F76A-4FB0-82D0-2891ECD9CF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84344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8C0C0-EB90-416B-AD15-2FF686FDA0F3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04353-F76A-4FB0-82D0-2891ECD9CF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0795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8C0C0-EB90-416B-AD15-2FF686FDA0F3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A04353-F76A-4FB0-82D0-2891ECD9CF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7649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2.sv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98C0C0-EB90-416B-AD15-2FF686FDA0F3}" type="datetimeFigureOut">
              <a:rPr lang="ru-RU" smtClean="0"/>
              <a:t>18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A04353-F76A-4FB0-82D0-2891ECD9CF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6752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4" r:id="rId13"/>
    <p:sldLayoutId id="2147483675" r:id="rId14"/>
    <p:sldLayoutId id="2147483676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3F342EA3-ECC8-6944-8742-327940920E2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843" y="5280590"/>
            <a:ext cx="11490490" cy="864967"/>
          </a:xfrm>
          <a:prstGeom prst="rect">
            <a:avLst/>
          </a:prstGeom>
        </p:spPr>
      </p:pic>
      <p:sp>
        <p:nvSpPr>
          <p:cNvPr id="4" name="Title Text"/>
          <p:cNvSpPr>
            <a:spLocks noGrp="1"/>
          </p:cNvSpPr>
          <p:nvPr>
            <p:ph type="title"/>
          </p:nvPr>
        </p:nvSpPr>
        <p:spPr>
          <a:xfrm>
            <a:off x="749300" y="764382"/>
            <a:ext cx="7632700" cy="45727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b">
            <a:noAutofit/>
          </a:bodyPr>
          <a:lstStyle/>
          <a:p>
            <a:r>
              <a:rPr lang="en-US" dirty="0"/>
              <a:t>LOREM IPSUM DOLOR SI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B5588F-C887-704A-A845-46DD2AA76E37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214205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</p:sldLayoutIdLst>
  <p:transition spd="med"/>
  <p:hf hdr="0" ftr="0" dt="0"/>
  <p:txStyles>
    <p:titleStyle>
      <a:lvl1pPr marL="0" marR="0" indent="0" algn="l" defTabSz="412750" rtl="0" latinLnBrk="0">
        <a:lnSpc>
          <a:spcPts val="9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5pPr>
      <a:lvl6pPr marL="0" marR="0" indent="1778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3556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5334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7112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328">
          <p15:clr>
            <a:srgbClr val="A4A3A4"/>
          </p15:clr>
        </p15:guide>
        <p15:guide id="4" pos="4793">
          <p15:clr>
            <a:srgbClr val="A4A3A4"/>
          </p15:clr>
        </p15:guide>
        <p15:guide id="6" pos="5768">
          <p15:clr>
            <a:srgbClr val="A4A3A4"/>
          </p15:clr>
        </p15:guide>
        <p15:guide id="7" pos="6244">
          <p15:clr>
            <a:srgbClr val="A4A3A4"/>
          </p15:clr>
        </p15:guide>
        <p15:guide id="8" pos="6721">
          <p15:clr>
            <a:srgbClr val="A4A3A4"/>
          </p15:clr>
        </p15:guide>
        <p15:guide id="9" pos="7208">
          <p15:clr>
            <a:srgbClr val="F26B43"/>
          </p15:clr>
        </p15:guide>
        <p15:guide id="10" pos="5280">
          <p15:clr>
            <a:srgbClr val="A4A3A4"/>
          </p15:clr>
        </p15:guide>
        <p15:guide id="11" pos="3364">
          <p15:clr>
            <a:srgbClr val="A4A3A4"/>
          </p15:clr>
        </p15:guide>
        <p15:guide id="12" pos="2876">
          <p15:clr>
            <a:srgbClr val="A4A3A4"/>
          </p15:clr>
        </p15:guide>
        <p15:guide id="13" pos="2389">
          <p15:clr>
            <a:srgbClr val="A4A3A4"/>
          </p15:clr>
        </p15:guide>
        <p15:guide id="14" pos="1912">
          <p15:clr>
            <a:srgbClr val="A4A3A4"/>
          </p15:clr>
        </p15:guide>
        <p15:guide id="15" pos="1436">
          <p15:clr>
            <a:srgbClr val="A4A3A4"/>
          </p15:clr>
        </p15:guide>
        <p15:guide id="16" pos="949">
          <p15:clr>
            <a:srgbClr val="A4A3A4"/>
          </p15:clr>
        </p15:guide>
        <p15:guide id="18" pos="472">
          <p15:clr>
            <a:srgbClr val="F26B43"/>
          </p15:clr>
        </p15:guide>
        <p15:guide id="19">
          <p15:clr>
            <a:srgbClr val="F26B43"/>
          </p15:clr>
        </p15:guide>
        <p15:guide id="20" orient="horz" pos="1922">
          <p15:clr>
            <a:srgbClr val="A4A3A4"/>
          </p15:clr>
        </p15:guide>
        <p15:guide id="21" orient="horz" pos="1435">
          <p15:clr>
            <a:srgbClr val="A4A3A4"/>
          </p15:clr>
        </p15:guide>
        <p15:guide id="22" orient="horz" pos="958">
          <p15:clr>
            <a:srgbClr val="A4A3A4"/>
          </p15:clr>
        </p15:guide>
        <p15:guide id="23" orient="horz" pos="482">
          <p15:clr>
            <a:srgbClr val="F26B43"/>
          </p15:clr>
        </p15:guide>
        <p15:guide id="24" orient="horz">
          <p15:clr>
            <a:srgbClr val="F26B43"/>
          </p15:clr>
        </p15:guide>
        <p15:guide id="25" orient="horz" pos="2398">
          <p15:clr>
            <a:srgbClr val="A4A3A4"/>
          </p15:clr>
        </p15:guide>
        <p15:guide id="26" orient="horz" pos="2875">
          <p15:clr>
            <a:srgbClr val="A4A3A4"/>
          </p15:clr>
        </p15:guide>
        <p15:guide id="27" orient="horz" pos="3362">
          <p15:clr>
            <a:srgbClr val="A4A3A4"/>
          </p15:clr>
        </p15:guide>
        <p15:guide id="28" orient="horz" pos="3839">
          <p15:clr>
            <a:srgbClr val="F26B43"/>
          </p15:clr>
        </p15:guide>
        <p15:guide id="29" orient="horz" pos="4320">
          <p15:clr>
            <a:srgbClr val="F26B43"/>
          </p15:clr>
        </p15:guide>
        <p15:guide id="30" pos="76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Text"/>
          <p:cNvSpPr>
            <a:spLocks noGrp="1"/>
          </p:cNvSpPr>
          <p:nvPr>
            <p:ph type="title"/>
          </p:nvPr>
        </p:nvSpPr>
        <p:spPr>
          <a:xfrm>
            <a:off x="749301" y="764382"/>
            <a:ext cx="5435384" cy="30840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b">
            <a:noAutofit/>
          </a:bodyPr>
          <a:lstStyle/>
          <a:p>
            <a:r>
              <a:rPr lang="en-US" dirty="0"/>
              <a:t>TITLE TEX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7AC0FA-EA99-0045-8DC2-C635270F1E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9300" y="4563269"/>
            <a:ext cx="9891569" cy="15303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66B4078-737F-6C4A-8996-02AA3FD619F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636077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</p:sldLayoutIdLst>
  <p:transition spd="med"/>
  <p:hf hdr="0" ftr="0" dt="0"/>
  <p:txStyles>
    <p:titleStyle>
      <a:lvl1pPr marL="0" marR="0" indent="0" algn="l" defTabSz="412750" rtl="0" latinLnBrk="0">
        <a:lnSpc>
          <a:spcPts val="9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Verdana" panose="020B0604030504040204" pitchFamily="34" charset="0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1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5pPr>
      <a:lvl6pPr marL="0" marR="0" indent="1778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3556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5334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7112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328">
          <p15:clr>
            <a:srgbClr val="A4A3A4"/>
          </p15:clr>
        </p15:guide>
        <p15:guide id="4" pos="4793">
          <p15:clr>
            <a:srgbClr val="A4A3A4"/>
          </p15:clr>
        </p15:guide>
        <p15:guide id="6" pos="5768">
          <p15:clr>
            <a:srgbClr val="A4A3A4"/>
          </p15:clr>
        </p15:guide>
        <p15:guide id="7" pos="6244">
          <p15:clr>
            <a:srgbClr val="A4A3A4"/>
          </p15:clr>
        </p15:guide>
        <p15:guide id="8" pos="6721">
          <p15:clr>
            <a:srgbClr val="A4A3A4"/>
          </p15:clr>
        </p15:guide>
        <p15:guide id="9" pos="7208">
          <p15:clr>
            <a:srgbClr val="F26B43"/>
          </p15:clr>
        </p15:guide>
        <p15:guide id="10" pos="5280">
          <p15:clr>
            <a:srgbClr val="A4A3A4"/>
          </p15:clr>
        </p15:guide>
        <p15:guide id="11" pos="3364">
          <p15:clr>
            <a:srgbClr val="A4A3A4"/>
          </p15:clr>
        </p15:guide>
        <p15:guide id="12" pos="2876">
          <p15:clr>
            <a:srgbClr val="A4A3A4"/>
          </p15:clr>
        </p15:guide>
        <p15:guide id="13" pos="2411">
          <p15:clr>
            <a:srgbClr val="A4A3A4"/>
          </p15:clr>
        </p15:guide>
        <p15:guide id="14" pos="1912">
          <p15:clr>
            <a:srgbClr val="A4A3A4"/>
          </p15:clr>
        </p15:guide>
        <p15:guide id="15" pos="1436">
          <p15:clr>
            <a:srgbClr val="A4A3A4"/>
          </p15:clr>
        </p15:guide>
        <p15:guide id="16" pos="949">
          <p15:clr>
            <a:srgbClr val="A4A3A4"/>
          </p15:clr>
        </p15:guide>
        <p15:guide id="18" pos="472">
          <p15:clr>
            <a:srgbClr val="F26B43"/>
          </p15:clr>
        </p15:guide>
        <p15:guide id="19">
          <p15:clr>
            <a:srgbClr val="F26B43"/>
          </p15:clr>
        </p15:guide>
        <p15:guide id="20" orient="horz" pos="1922">
          <p15:clr>
            <a:srgbClr val="A4A3A4"/>
          </p15:clr>
        </p15:guide>
        <p15:guide id="21" orient="horz" pos="1435">
          <p15:clr>
            <a:srgbClr val="A4A3A4"/>
          </p15:clr>
        </p15:guide>
        <p15:guide id="22" orient="horz" pos="958">
          <p15:clr>
            <a:srgbClr val="A4A3A4"/>
          </p15:clr>
        </p15:guide>
        <p15:guide id="23" orient="horz" pos="482">
          <p15:clr>
            <a:srgbClr val="F26B43"/>
          </p15:clr>
        </p15:guide>
        <p15:guide id="24" orient="horz">
          <p15:clr>
            <a:srgbClr val="F26B43"/>
          </p15:clr>
        </p15:guide>
        <p15:guide id="25" orient="horz" pos="2398">
          <p15:clr>
            <a:srgbClr val="A4A3A4"/>
          </p15:clr>
        </p15:guide>
        <p15:guide id="26" orient="horz" pos="2875">
          <p15:clr>
            <a:srgbClr val="A4A3A4"/>
          </p15:clr>
        </p15:guide>
        <p15:guide id="27" orient="horz" pos="3362">
          <p15:clr>
            <a:srgbClr val="A4A3A4"/>
          </p15:clr>
        </p15:guide>
        <p15:guide id="28" orient="horz" pos="3839">
          <p15:clr>
            <a:srgbClr val="F26B43"/>
          </p15:clr>
        </p15:guide>
        <p15:guide id="29" orient="horz" pos="4320">
          <p15:clr>
            <a:srgbClr val="F26B43"/>
          </p15:clr>
        </p15:guide>
        <p15:guide id="30" pos="76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3.xml"/><Relationship Id="rId6" Type="http://schemas.openxmlformats.org/officeDocument/2006/relationships/chart" Target="../charts/chart1.xml"/><Relationship Id="rId5" Type="http://schemas.openxmlformats.org/officeDocument/2006/relationships/image" Target="../media/image18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microsoft.com/office/2007/relationships/hdphoto" Target="../media/hdphoto2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5982B89-C433-CC4E-A151-6912A9CCD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9300" y="2409092"/>
            <a:ext cx="7632700" cy="2783394"/>
          </a:xfrm>
        </p:spPr>
        <p:txBody>
          <a:bodyPr/>
          <a:lstStyle/>
          <a:p>
            <a:r>
              <a:rPr lang="ru-RU" dirty="0"/>
              <a:t>«Умное производство. Новые </a:t>
            </a:r>
            <a:r>
              <a:rPr lang="ru-RU" dirty="0" smtClean="0"/>
              <a:t>вызовы – угроза </a:t>
            </a:r>
            <a:r>
              <a:rPr lang="ru-RU" dirty="0"/>
              <a:t>или возможности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81EC0C57-CDBF-5547-AD54-65A0BF76C4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/>
              <a:t>VIII МЕЖДУНАРОДНЫЙ ЭКОНОМИЧЕСКИЙ БИЗНЕС-КОНГРЕСС БИЗНЕС-КЛУБА «ДИАЛОГИ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21FE388-8056-F845-AF45-0D21E6803A1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ru-RU" dirty="0"/>
              <a:t>19-20 сентября 2019 год</a:t>
            </a:r>
          </a:p>
        </p:txBody>
      </p:sp>
    </p:spTree>
    <p:extLst>
      <p:ext uri="{BB962C8B-B14F-4D97-AF65-F5344CB8AC3E}">
        <p14:creationId xmlns:p14="http://schemas.microsoft.com/office/powerpoint/2010/main" val="29849038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7578389" y="6213432"/>
            <a:ext cx="4957017" cy="235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33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Источник: </a:t>
            </a:r>
            <a:r>
              <a:rPr kumimoji="0" lang="en-US" sz="933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owthEnabler</a:t>
            </a:r>
            <a:r>
              <a:rPr kumimoji="0" lang="en-US" sz="933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Market Pulse Report, Internet of Things (IoT)</a:t>
            </a:r>
            <a:endParaRPr kumimoji="0" lang="ru-RU" sz="933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MTS_IoT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4764" y="-1"/>
            <a:ext cx="12196763" cy="6855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34417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7578389" y="6213432"/>
            <a:ext cx="4957017" cy="2358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33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Источник: </a:t>
            </a:r>
            <a:r>
              <a:rPr kumimoji="0" lang="en-US" sz="933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owthEnabler</a:t>
            </a:r>
            <a:r>
              <a:rPr kumimoji="0" lang="en-US" sz="933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Market Pulse Report, Internet of Things (IoT)</a:t>
            </a:r>
            <a:endParaRPr kumimoji="0" lang="ru-RU" sz="933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527247" y="630137"/>
            <a:ext cx="1026426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Интернет вещей – </a:t>
            </a:r>
            <a:r>
              <a:rPr lang="ru-RU" sz="2800" b="1" dirty="0" smtClean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Helvetica Neue"/>
              </a:rPr>
              <a:t>новые возможности</a:t>
            </a:r>
            <a:endParaRPr lang="ru-RU" sz="2800" b="1" dirty="0"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2" descr="Ð Ð°Ð·Ð½Ð¸ÑÐ° Ð² ÑÑÐ¾Ð²Ð½Ðµ ÑÐ¸ÑÑÐ¾Ð²Ð¸Ð·Ð°ÑÐ¸Ð¸ Ð¼ÐµÐ¶Ð´Ñ Ð Ð¾ÑÑÐ¸ÐµÐ¹ Ð¸ ÐÐ²ÑÐ¾Ð¿Ð¾Ð¹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61" r="54845" b="19407"/>
          <a:stretch/>
        </p:blipFill>
        <p:spPr bwMode="auto">
          <a:xfrm>
            <a:off x="609465" y="2359377"/>
            <a:ext cx="3643223" cy="3262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Ð Ð°Ð·Ð½Ð¸ÑÐ° Ð² ÑÑÐ¾Ð²Ð½Ðµ ÑÐ¸ÑÑÐ¾Ð²Ð¸Ð·Ð°ÑÐ¸Ð¸ Ð¼ÐµÐ¶Ð´Ñ Ð Ð¾ÑÑÐ¸ÐµÐ¹ Ð¸ ÐÐ²ÑÐ¾Ð¿Ð¾Ð¹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3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198" t="-260" r="35876" b="94201"/>
          <a:stretch/>
        </p:blipFill>
        <p:spPr bwMode="auto">
          <a:xfrm>
            <a:off x="1403939" y="2025427"/>
            <a:ext cx="3381458" cy="333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Ð Ð°Ð·Ð½Ð¸ÑÐ° Ð² ÑÑÐ¾Ð²Ð½Ðµ ÑÐ¸ÑÑÐ¾Ð²Ð¸Ð·Ð°ÑÐ¸Ð¸ Ð¼ÐµÐ¶Ð´Ñ Ð Ð¾ÑÑÐ¸ÐµÐ¹ Ð¸ ÐÐ²ÑÐ¾Ð¿Ð¾Ð¹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479" b="81644" l="64559" r="76618">
                        <a14:foregroundMark x1="69412" y1="77534" x2="69412" y2="8493"/>
                        <a14:foregroundMark x1="71029" y1="22192" x2="71029" y2="22192"/>
                        <a14:foregroundMark x1="71471" y1="22466" x2="71471" y2="22466"/>
                        <a14:foregroundMark x1="73676" y1="20822" x2="73676" y2="20822"/>
                        <a14:foregroundMark x1="66765" y1="20822" x2="72794" y2="20822"/>
                        <a14:foregroundMark x1="67353" y1="10959" x2="73235" y2="986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4419" t="5520" r="24405" b="19413"/>
          <a:stretch/>
        </p:blipFill>
        <p:spPr bwMode="auto">
          <a:xfrm>
            <a:off x="4332935" y="2359377"/>
            <a:ext cx="904924" cy="3262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9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8485958"/>
              </p:ext>
            </p:extLst>
          </p:nvPr>
        </p:nvGraphicFramePr>
        <p:xfrm>
          <a:off x="5746915" y="1594640"/>
          <a:ext cx="5908789" cy="3877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47113" y="1736610"/>
            <a:ext cx="5012267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b="1" dirty="0" smtClean="0">
                <a:solidFill>
                  <a:srgbClr val="000000"/>
                </a:solidFill>
                <a:latin typeface="+mj-lt"/>
                <a:ea typeface="+mj-ea"/>
                <a:cs typeface="+mj-cs"/>
                <a:sym typeface="Helvetica Neue"/>
              </a:rPr>
              <a:t>Уровень цифровизации отраслей в России</a:t>
            </a:r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9103676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3"/>
          <p:cNvSpPr>
            <a:spLocks noGrp="1"/>
          </p:cNvSpPr>
          <p:nvPr>
            <p:ph type="body" sz="quarter" idx="4294967295"/>
          </p:nvPr>
        </p:nvSpPr>
        <p:spPr>
          <a:xfrm>
            <a:off x="668501" y="595932"/>
            <a:ext cx="6452536" cy="667047"/>
          </a:xfrm>
          <a:prstGeom prst="rect">
            <a:avLst/>
          </a:prstGeom>
        </p:spPr>
        <p:txBody>
          <a:bodyPr vert="horz" lIns="0" tIns="0" rIns="0" bIns="264000" rtlCol="0" anchor="t">
            <a:noAutofit/>
          </a:bodyPr>
          <a:lstStyle/>
          <a:p>
            <a:pPr indent="0" defTabSz="914400">
              <a:spcBef>
                <a:spcPts val="0"/>
              </a:spcBef>
              <a:buNone/>
            </a:pPr>
            <a:r>
              <a:rPr lang="ru-RU" sz="2800" kern="1200" dirty="0">
                <a:ea typeface="Verdana" panose="020B0604030504040204" pitchFamily="34" charset="0"/>
              </a:rPr>
              <a:t>Сеть нового стандарта </a:t>
            </a:r>
          </a:p>
          <a:p>
            <a:pPr indent="0" defTabSz="914400">
              <a:spcBef>
                <a:spcPts val="0"/>
              </a:spcBef>
              <a:buNone/>
            </a:pPr>
            <a:r>
              <a:rPr lang="ru-RU" sz="2800" kern="1200" dirty="0">
                <a:ea typeface="Verdana" panose="020B0604030504040204" pitchFamily="34" charset="0"/>
              </a:rPr>
              <a:t>NB-</a:t>
            </a:r>
            <a:r>
              <a:rPr lang="ru-RU" sz="2800" kern="1200" dirty="0" err="1">
                <a:ea typeface="Verdana" panose="020B0604030504040204" pitchFamily="34" charset="0"/>
              </a:rPr>
              <a:t>IoT</a:t>
            </a:r>
            <a:r>
              <a:rPr lang="ru-RU" sz="2800" kern="1200" dirty="0">
                <a:ea typeface="Verdana" panose="020B0604030504040204" pitchFamily="34" charset="0"/>
              </a:rPr>
              <a:t> для интернета вещей</a:t>
            </a:r>
            <a:endParaRPr lang="en-US" sz="2800" kern="1200" dirty="0">
              <a:ea typeface="Verdana" panose="020B0604030504040204" pitchFamily="34" charset="0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2414" y="2104347"/>
            <a:ext cx="9850886" cy="3832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99162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37665" y="553809"/>
            <a:ext cx="10693400" cy="535937"/>
          </a:xfrm>
        </p:spPr>
        <p:txBody>
          <a:bodyPr/>
          <a:lstStyle/>
          <a:p>
            <a:r>
              <a:rPr lang="ru-RU" dirty="0"/>
              <a:t>Решения </a:t>
            </a:r>
            <a:r>
              <a:rPr lang="en-US" dirty="0"/>
              <a:t>Smart </a:t>
            </a:r>
            <a:r>
              <a:rPr lang="en-US" dirty="0" smtClean="0"/>
              <a:t>City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851273" y="6354334"/>
            <a:ext cx="2515088" cy="29409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>
              <a:lnSpc>
                <a:spcPts val="1333"/>
              </a:lnSpc>
              <a:spcAft>
                <a:spcPts val="667"/>
              </a:spcAft>
            </a:pPr>
            <a:r>
              <a:rPr lang="ru-RU" sz="14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Цифровые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инфопанели</a:t>
            </a:r>
            <a:endParaRPr lang="ru-RU" sz="1400" b="1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034668" y="1394528"/>
            <a:ext cx="2363933" cy="1902301"/>
            <a:chOff x="1526001" y="1045896"/>
            <a:chExt cx="1772950" cy="142672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0745" y="1045896"/>
              <a:ext cx="872609" cy="872609"/>
            </a:xfrm>
            <a:prstGeom prst="rect">
              <a:avLst/>
            </a:prstGeom>
          </p:spPr>
        </p:pic>
        <p:sp>
          <p:nvSpPr>
            <p:cNvPr id="10" name="Прямоугольник 9"/>
            <p:cNvSpPr/>
            <p:nvPr/>
          </p:nvSpPr>
          <p:spPr>
            <a:xfrm>
              <a:off x="1526001" y="1956559"/>
              <a:ext cx="1772950" cy="51606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>
                <a:lnSpc>
                  <a:spcPts val="1333"/>
                </a:lnSpc>
                <a:spcAft>
                  <a:spcPts val="667"/>
                </a:spcAft>
              </a:pP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Система учета показаний </a:t>
              </a:r>
              <a:b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</a:b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коммунальных ресурсов </a:t>
              </a:r>
              <a:b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</a:b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+</a:t>
              </a:r>
              <a:r>
                <a:rPr lang="en-US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 </a:t>
              </a: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контроль протечки</a:t>
              </a: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957553" y="3183358"/>
            <a:ext cx="1841480" cy="1902301"/>
            <a:chOff x="718165" y="2387518"/>
            <a:chExt cx="1381110" cy="1426726"/>
          </a:xfrm>
        </p:grpSpPr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989" y="2387518"/>
              <a:ext cx="872609" cy="872609"/>
            </a:xfrm>
            <a:prstGeom prst="rect">
              <a:avLst/>
            </a:prstGeom>
          </p:spPr>
        </p:pic>
        <p:sp>
          <p:nvSpPr>
            <p:cNvPr id="13" name="Прямоугольник 12"/>
            <p:cNvSpPr/>
            <p:nvPr/>
          </p:nvSpPr>
          <p:spPr>
            <a:xfrm>
              <a:off x="718165" y="3298182"/>
              <a:ext cx="1381110" cy="516062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>
                <a:lnSpc>
                  <a:spcPts val="1333"/>
                </a:lnSpc>
                <a:spcAft>
                  <a:spcPts val="667"/>
                </a:spcAft>
              </a:pP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Система контроля </a:t>
              </a:r>
              <a:r>
                <a:rPr lang="en-US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/>
              </a:r>
              <a:br>
                <a:rPr lang="en-US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</a:b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городского </a:t>
              </a:r>
              <a:b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</a:b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освещения </a:t>
              </a: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2079679" y="4452611"/>
            <a:ext cx="2272587" cy="1658472"/>
            <a:chOff x="1559759" y="3339458"/>
            <a:chExt cx="1704440" cy="1243854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0248" y="3339458"/>
              <a:ext cx="872609" cy="872609"/>
            </a:xfrm>
            <a:prstGeom prst="rect">
              <a:avLst/>
            </a:prstGeom>
          </p:spPr>
        </p:pic>
        <p:sp>
          <p:nvSpPr>
            <p:cNvPr id="16" name="Прямоугольник 15"/>
            <p:cNvSpPr/>
            <p:nvPr/>
          </p:nvSpPr>
          <p:spPr>
            <a:xfrm>
              <a:off x="1559759" y="4250121"/>
              <a:ext cx="1704440" cy="333191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>
                <a:lnSpc>
                  <a:spcPts val="1333"/>
                </a:lnSpc>
                <a:spcAft>
                  <a:spcPts val="667"/>
                </a:spcAft>
              </a:pP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«Умные»</a:t>
              </a:r>
              <a:b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</a:b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мусоросборники</a:t>
              </a: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7612353" y="4468653"/>
            <a:ext cx="2509827" cy="1850984"/>
            <a:chOff x="5709265" y="3351490"/>
            <a:chExt cx="1882370" cy="1388238"/>
          </a:xfrm>
        </p:grpSpPr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08719" y="3351490"/>
              <a:ext cx="872609" cy="872609"/>
            </a:xfrm>
            <a:prstGeom prst="rect">
              <a:avLst/>
            </a:prstGeom>
          </p:spPr>
        </p:pic>
        <p:sp>
          <p:nvSpPr>
            <p:cNvPr id="19" name="Прямоугольник 18"/>
            <p:cNvSpPr/>
            <p:nvPr/>
          </p:nvSpPr>
          <p:spPr>
            <a:xfrm>
              <a:off x="5709265" y="4250121"/>
              <a:ext cx="1882370" cy="489607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>
                <a:lnSpc>
                  <a:spcPts val="1333"/>
                </a:lnSpc>
                <a:spcAft>
                  <a:spcPts val="667"/>
                </a:spcAft>
              </a:pP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Система</a:t>
              </a:r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контроля</a:t>
              </a:r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энергоэффективности</a:t>
              </a:r>
              <a:endParaRPr lang="ru-RU" sz="14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</p:grpSp>
      <p:sp>
        <p:nvSpPr>
          <p:cNvPr id="20" name="object 86"/>
          <p:cNvSpPr/>
          <p:nvPr/>
        </p:nvSpPr>
        <p:spPr>
          <a:xfrm flipV="1">
            <a:off x="6863012" y="4036941"/>
            <a:ext cx="1296739" cy="701345"/>
          </a:xfrm>
          <a:custGeom>
            <a:avLst/>
            <a:gdLst/>
            <a:ahLst/>
            <a:cxnLst/>
            <a:rect l="l" t="t" r="r" b="b"/>
            <a:pathLst>
              <a:path w="749300" h="749300">
                <a:moveTo>
                  <a:pt x="0" y="749120"/>
                </a:moveTo>
                <a:lnTo>
                  <a:pt x="749109" y="0"/>
                </a:lnTo>
              </a:path>
            </a:pathLst>
          </a:custGeom>
          <a:ln w="19050">
            <a:solidFill>
              <a:srgbClr val="E30611"/>
            </a:solidFill>
          </a:ln>
        </p:spPr>
        <p:txBody>
          <a:bodyPr wrap="square" lIns="0" tIns="0" rIns="0" bIns="0" rtlCol="0"/>
          <a:lstStyle/>
          <a:p>
            <a:endParaRPr sz="2397"/>
          </a:p>
        </p:txBody>
      </p:sp>
      <p:grpSp>
        <p:nvGrpSpPr>
          <p:cNvPr id="21" name="Группа 20"/>
          <p:cNvGrpSpPr/>
          <p:nvPr/>
        </p:nvGrpSpPr>
        <p:grpSpPr>
          <a:xfrm>
            <a:off x="9222928" y="3183358"/>
            <a:ext cx="2026736" cy="1902301"/>
            <a:chOff x="6917196" y="2387518"/>
            <a:chExt cx="1520052" cy="1426726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5491" y="2387518"/>
              <a:ext cx="872609" cy="872609"/>
            </a:xfrm>
            <a:prstGeom prst="rect">
              <a:avLst/>
            </a:prstGeom>
          </p:spPr>
        </p:pic>
        <p:sp>
          <p:nvSpPr>
            <p:cNvPr id="23" name="Прямоугольник 22"/>
            <p:cNvSpPr/>
            <p:nvPr/>
          </p:nvSpPr>
          <p:spPr>
            <a:xfrm>
              <a:off x="6917196" y="3298181"/>
              <a:ext cx="1520052" cy="51606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>
                <a:lnSpc>
                  <a:spcPts val="1333"/>
                </a:lnSpc>
                <a:spcAft>
                  <a:spcPts val="667"/>
                </a:spcAft>
              </a:pP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Охранно-пожарная</a:t>
              </a:r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b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сигнализация</a:t>
              </a:r>
            </a:p>
          </p:txBody>
        </p:sp>
      </p:grp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9831" y="5120223"/>
            <a:ext cx="1163479" cy="116347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7641685" y="1357715"/>
            <a:ext cx="2372267" cy="1902301"/>
            <a:chOff x="5731264" y="1018286"/>
            <a:chExt cx="1779200" cy="1426726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79133" y="1018286"/>
              <a:ext cx="872609" cy="872609"/>
            </a:xfrm>
            <a:prstGeom prst="rect">
              <a:avLst/>
            </a:prstGeom>
          </p:spPr>
        </p:pic>
        <p:sp>
          <p:nvSpPr>
            <p:cNvPr id="27" name="Прямоугольник 26"/>
            <p:cNvSpPr/>
            <p:nvPr/>
          </p:nvSpPr>
          <p:spPr>
            <a:xfrm>
              <a:off x="5731264" y="1928949"/>
              <a:ext cx="1779200" cy="51606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>
                <a:lnSpc>
                  <a:spcPts val="1333"/>
                </a:lnSpc>
                <a:spcAft>
                  <a:spcPts val="667"/>
                </a:spcAft>
              </a:pP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Контроль доступа </a:t>
              </a:r>
              <a:r>
                <a:rPr lang="en-US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/>
              </a:r>
              <a:br>
                <a:rPr lang="en-US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</a:b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+</a:t>
              </a:r>
              <a:r>
                <a:rPr lang="en-US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 </a:t>
              </a: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Акустическая система </a:t>
              </a:r>
              <a:b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</a:b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мониторинга безопасности</a:t>
              </a: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5074382" y="1061556"/>
            <a:ext cx="2034437" cy="1658472"/>
            <a:chOff x="3805786" y="796167"/>
            <a:chExt cx="1525828" cy="1243854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26969" y="796167"/>
              <a:ext cx="872609" cy="872609"/>
            </a:xfrm>
            <a:prstGeom prst="rect">
              <a:avLst/>
            </a:prstGeom>
          </p:spPr>
        </p:pic>
        <p:sp>
          <p:nvSpPr>
            <p:cNvPr id="30" name="Прямоугольник 29"/>
            <p:cNvSpPr/>
            <p:nvPr/>
          </p:nvSpPr>
          <p:spPr>
            <a:xfrm>
              <a:off x="3805786" y="1706830"/>
              <a:ext cx="1525828" cy="333191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ctr">
                <a:lnSpc>
                  <a:spcPts val="1333"/>
                </a:lnSpc>
                <a:spcAft>
                  <a:spcPts val="667"/>
                </a:spcAft>
              </a:pP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Мониторинг</a:t>
              </a:r>
              <a:b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</a:br>
              <a:r>
                <a:rPr lang="ru-RU" sz="1400" b="1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окружающей среды</a:t>
              </a:r>
            </a:p>
          </p:txBody>
        </p:sp>
      </p:grpSp>
      <p:sp>
        <p:nvSpPr>
          <p:cNvPr id="31" name="object 86"/>
          <p:cNvSpPr/>
          <p:nvPr/>
        </p:nvSpPr>
        <p:spPr>
          <a:xfrm>
            <a:off x="6863012" y="2275774"/>
            <a:ext cx="1296739" cy="825501"/>
          </a:xfrm>
          <a:custGeom>
            <a:avLst/>
            <a:gdLst/>
            <a:ahLst/>
            <a:cxnLst/>
            <a:rect l="l" t="t" r="r" b="b"/>
            <a:pathLst>
              <a:path w="749300" h="749300">
                <a:moveTo>
                  <a:pt x="0" y="749120"/>
                </a:moveTo>
                <a:lnTo>
                  <a:pt x="749109" y="0"/>
                </a:lnTo>
              </a:path>
            </a:pathLst>
          </a:custGeom>
          <a:ln w="19050">
            <a:solidFill>
              <a:srgbClr val="E30611"/>
            </a:solidFill>
          </a:ln>
        </p:spPr>
        <p:txBody>
          <a:bodyPr wrap="square" lIns="0" tIns="0" rIns="0" bIns="0" rtlCol="0"/>
          <a:lstStyle/>
          <a:p>
            <a:endParaRPr sz="2397"/>
          </a:p>
        </p:txBody>
      </p:sp>
      <p:sp>
        <p:nvSpPr>
          <p:cNvPr id="32" name="object 86"/>
          <p:cNvSpPr/>
          <p:nvPr/>
        </p:nvSpPr>
        <p:spPr>
          <a:xfrm flipH="1">
            <a:off x="3856386" y="2275774"/>
            <a:ext cx="1461361" cy="825501"/>
          </a:xfrm>
          <a:custGeom>
            <a:avLst/>
            <a:gdLst/>
            <a:ahLst/>
            <a:cxnLst/>
            <a:rect l="l" t="t" r="r" b="b"/>
            <a:pathLst>
              <a:path w="749300" h="749300">
                <a:moveTo>
                  <a:pt x="0" y="749120"/>
                </a:moveTo>
                <a:lnTo>
                  <a:pt x="749109" y="0"/>
                </a:lnTo>
              </a:path>
            </a:pathLst>
          </a:custGeom>
          <a:ln w="19050">
            <a:solidFill>
              <a:srgbClr val="E30611"/>
            </a:solidFill>
          </a:ln>
        </p:spPr>
        <p:txBody>
          <a:bodyPr wrap="square" lIns="0" tIns="0" rIns="0" bIns="0" rtlCol="0"/>
          <a:lstStyle/>
          <a:p>
            <a:endParaRPr sz="2397"/>
          </a:p>
        </p:txBody>
      </p:sp>
      <p:sp>
        <p:nvSpPr>
          <p:cNvPr id="33" name="object 86"/>
          <p:cNvSpPr/>
          <p:nvPr/>
        </p:nvSpPr>
        <p:spPr>
          <a:xfrm flipH="1" flipV="1">
            <a:off x="3861901" y="4036937"/>
            <a:ext cx="1370899" cy="701345"/>
          </a:xfrm>
          <a:custGeom>
            <a:avLst/>
            <a:gdLst/>
            <a:ahLst/>
            <a:cxnLst/>
            <a:rect l="l" t="t" r="r" b="b"/>
            <a:pathLst>
              <a:path w="749300" h="749300">
                <a:moveTo>
                  <a:pt x="0" y="749120"/>
                </a:moveTo>
                <a:lnTo>
                  <a:pt x="749109" y="0"/>
                </a:lnTo>
              </a:path>
            </a:pathLst>
          </a:custGeom>
          <a:ln w="19050">
            <a:solidFill>
              <a:srgbClr val="E30611"/>
            </a:solidFill>
          </a:ln>
        </p:spPr>
        <p:txBody>
          <a:bodyPr wrap="square" lIns="0" tIns="0" rIns="0" bIns="0" rtlCol="0"/>
          <a:lstStyle/>
          <a:p>
            <a:endParaRPr sz="2397"/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V="1">
            <a:off x="6062172" y="2678433"/>
            <a:ext cx="0" cy="18679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H="1">
            <a:off x="2626998" y="3771020"/>
            <a:ext cx="2554604" cy="0"/>
          </a:xfrm>
          <a:prstGeom prst="line">
            <a:avLst/>
          </a:prstGeom>
          <a:ln w="19050">
            <a:solidFill>
              <a:srgbClr val="E306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 flipH="1">
            <a:off x="6944998" y="3771020"/>
            <a:ext cx="2554604" cy="0"/>
          </a:xfrm>
          <a:prstGeom prst="line">
            <a:avLst/>
          </a:prstGeom>
          <a:ln w="19050">
            <a:solidFill>
              <a:srgbClr val="E306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Рисунок 3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07799" y="5234953"/>
            <a:ext cx="844928" cy="844928"/>
          </a:xfrm>
          <a:prstGeom prst="rect">
            <a:avLst/>
          </a:prstGeom>
        </p:spPr>
      </p:pic>
      <p:sp>
        <p:nvSpPr>
          <p:cNvPr id="38" name="Овал 37"/>
          <p:cNvSpPr/>
          <p:nvPr/>
        </p:nvSpPr>
        <p:spPr>
          <a:xfrm>
            <a:off x="6431248" y="5056132"/>
            <a:ext cx="1152000" cy="1152000"/>
          </a:xfrm>
          <a:prstGeom prst="ellipse">
            <a:avLst/>
          </a:prstGeom>
          <a:noFill/>
          <a:ln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39" name="object 86"/>
          <p:cNvSpPr/>
          <p:nvPr/>
        </p:nvSpPr>
        <p:spPr>
          <a:xfrm flipH="1" flipV="1">
            <a:off x="5420688" y="4661165"/>
            <a:ext cx="284557" cy="459057"/>
          </a:xfrm>
          <a:custGeom>
            <a:avLst/>
            <a:gdLst/>
            <a:ahLst/>
            <a:cxnLst/>
            <a:rect l="l" t="t" r="r" b="b"/>
            <a:pathLst>
              <a:path w="749300" h="749300">
                <a:moveTo>
                  <a:pt x="0" y="749120"/>
                </a:moveTo>
                <a:lnTo>
                  <a:pt x="749109" y="0"/>
                </a:lnTo>
              </a:path>
            </a:pathLst>
          </a:custGeom>
          <a:ln w="19050">
            <a:solidFill>
              <a:srgbClr val="E30611"/>
            </a:solidFill>
          </a:ln>
        </p:spPr>
        <p:txBody>
          <a:bodyPr wrap="square" lIns="0" tIns="0" rIns="0" bIns="0" rtlCol="0"/>
          <a:lstStyle/>
          <a:p>
            <a:endParaRPr sz="2397"/>
          </a:p>
        </p:txBody>
      </p:sp>
      <p:sp>
        <p:nvSpPr>
          <p:cNvPr id="40" name="object 86"/>
          <p:cNvSpPr/>
          <p:nvPr/>
        </p:nvSpPr>
        <p:spPr>
          <a:xfrm flipV="1">
            <a:off x="6513185" y="4685028"/>
            <a:ext cx="192416" cy="376069"/>
          </a:xfrm>
          <a:custGeom>
            <a:avLst/>
            <a:gdLst/>
            <a:ahLst/>
            <a:cxnLst/>
            <a:rect l="l" t="t" r="r" b="b"/>
            <a:pathLst>
              <a:path w="749300" h="749300">
                <a:moveTo>
                  <a:pt x="0" y="749120"/>
                </a:moveTo>
                <a:lnTo>
                  <a:pt x="749109" y="0"/>
                </a:lnTo>
              </a:path>
            </a:pathLst>
          </a:custGeom>
          <a:ln w="19050">
            <a:solidFill>
              <a:srgbClr val="E30611"/>
            </a:solidFill>
          </a:ln>
        </p:spPr>
        <p:txBody>
          <a:bodyPr wrap="square" lIns="0" tIns="0" rIns="0" bIns="0" rtlCol="0"/>
          <a:lstStyle/>
          <a:p>
            <a:endParaRPr sz="2397"/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4523" b="89984" l="9855" r="89984">
                        <a14:foregroundMark x1="38772" y1="19467" x2="38772" y2="19467"/>
                        <a14:foregroundMark x1="41357" y1="18255" x2="41357" y2="18255"/>
                        <a14:foregroundMark x1="39338" y1="20355" x2="39338" y2="20355"/>
                        <a14:foregroundMark x1="43296" y1="18659" x2="43296" y2="18659"/>
                        <a14:foregroundMark x1="42407" y1="17367" x2="42407" y2="17367"/>
                        <a14:foregroundMark x1="44830" y1="18578" x2="44830" y2="18578"/>
                        <a14:backgroundMark x1="33522" y1="17124" x2="33522" y2="17124"/>
                        <a14:backgroundMark x1="35541" y1="21648" x2="35541" y2="21648"/>
                        <a14:backgroundMark x1="43538" y1="17528" x2="43538" y2="17528"/>
                        <a14:backgroundMark x1="37480" y1="21809" x2="37480" y2="21809"/>
                        <a14:backgroundMark x1="40468" y1="18659" x2="40468" y2="18659"/>
                        <a14:backgroundMark x1="42003" y1="18659" x2="42003" y2="18659"/>
                        <a14:backgroundMark x1="42811" y1="18174" x2="42811" y2="18174"/>
                        <a14:backgroundMark x1="42165" y1="17286" x2="42165" y2="17286"/>
                        <a14:backgroundMark x1="43296" y1="18821" x2="43296" y2="18821"/>
                        <a14:backgroundMark x1="45234" y1="18659" x2="45234" y2="18659"/>
                      </a14:backgroundRemoval>
                    </a14:imgEffect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278" t="3350" r="17151" b="17294"/>
          <a:stretch/>
        </p:blipFill>
        <p:spPr>
          <a:xfrm rot="1562824">
            <a:off x="5060156" y="2366658"/>
            <a:ext cx="2147762" cy="2599256"/>
          </a:xfrm>
          <a:prstGeom prst="rect">
            <a:avLst/>
          </a:prstGeom>
        </p:spPr>
      </p:pic>
      <p:sp>
        <p:nvSpPr>
          <p:cNvPr id="42" name="Прямоугольник 41"/>
          <p:cNvSpPr/>
          <p:nvPr/>
        </p:nvSpPr>
        <p:spPr>
          <a:xfrm>
            <a:off x="3693532" y="6325592"/>
            <a:ext cx="2026733" cy="4288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>
              <a:spcAft>
                <a:spcPts val="667"/>
              </a:spcAft>
            </a:pPr>
            <a:r>
              <a:rPr lang="ru-RU" sz="1400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«Умная» парковка</a:t>
            </a:r>
          </a:p>
        </p:txBody>
      </p:sp>
    </p:spTree>
    <p:extLst>
      <p:ext uri="{BB962C8B-B14F-4D97-AF65-F5344CB8AC3E}">
        <p14:creationId xmlns:p14="http://schemas.microsoft.com/office/powerpoint/2010/main" val="9443606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543860E-4AF8-5C49-9B61-BDA8DECB82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ПАСИБО!</a:t>
            </a:r>
          </a:p>
        </p:txBody>
      </p:sp>
    </p:spTree>
    <p:extLst>
      <p:ext uri="{BB962C8B-B14F-4D97-AF65-F5344CB8AC3E}">
        <p14:creationId xmlns:p14="http://schemas.microsoft.com/office/powerpoint/2010/main" val="129931125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Z0CJM3TYCW2y.tHzkXdg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BLACK">
  <a:themeElements>
    <a:clrScheme name="Custom 4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ED1F23"/>
      </a:accent1>
      <a:accent2>
        <a:srgbClr val="FF6969"/>
      </a:accent2>
      <a:accent3>
        <a:srgbClr val="FF8993"/>
      </a:accent3>
      <a:accent4>
        <a:srgbClr val="FAA6AC"/>
      </a:accent4>
      <a:accent5>
        <a:srgbClr val="FFCBCD"/>
      </a:accent5>
      <a:accent6>
        <a:srgbClr val="FFDBE0"/>
      </a:accent6>
      <a:hlink>
        <a:srgbClr val="FEFFF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4_BLACK">
  <a:themeElements>
    <a:clrScheme name="Custom 4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ED1F23"/>
      </a:accent1>
      <a:accent2>
        <a:srgbClr val="FF6969"/>
      </a:accent2>
      <a:accent3>
        <a:srgbClr val="FF8993"/>
      </a:accent3>
      <a:accent4>
        <a:srgbClr val="FAA6AC"/>
      </a:accent4>
      <a:accent5>
        <a:srgbClr val="FFCBCD"/>
      </a:accent5>
      <a:accent6>
        <a:srgbClr val="FFDBE0"/>
      </a:accent6>
      <a:hlink>
        <a:srgbClr val="FEFFF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85</TotalTime>
  <Words>112</Words>
  <Application>Microsoft Office PowerPoint</Application>
  <PresentationFormat>Широкоэкранный</PresentationFormat>
  <Paragraphs>26</Paragraphs>
  <Slides>6</Slides>
  <Notes>1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7" baseType="lpstr">
      <vt:lpstr>Arial</vt:lpstr>
      <vt:lpstr>Calibri</vt:lpstr>
      <vt:lpstr>Calibri Light</vt:lpstr>
      <vt:lpstr>Helvetica Neue</vt:lpstr>
      <vt:lpstr>Helvetica Neue Medium</vt:lpstr>
      <vt:lpstr>MTS Sans</vt:lpstr>
      <vt:lpstr>Verdana</vt:lpstr>
      <vt:lpstr>1_Тема Office</vt:lpstr>
      <vt:lpstr>2_BLACK</vt:lpstr>
      <vt:lpstr>4_BLACK</vt:lpstr>
      <vt:lpstr>Слайд think-cell</vt:lpstr>
      <vt:lpstr>«Умное производство. Новые вызовы – угроза или возможности»</vt:lpstr>
      <vt:lpstr>Презентация PowerPoint</vt:lpstr>
      <vt:lpstr>Презентация PowerPoint</vt:lpstr>
      <vt:lpstr>Презентация PowerPoint</vt:lpstr>
      <vt:lpstr>Решения Smart City</vt:lpstr>
      <vt:lpstr>СПАСИБО!</vt:lpstr>
    </vt:vector>
  </TitlesOfParts>
  <Company>ПАО "МТС"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асечко Карина Алексеевна</dc:creator>
  <cp:lastModifiedBy>Кметь Семён Николаевич</cp:lastModifiedBy>
  <cp:revision>25</cp:revision>
  <dcterms:created xsi:type="dcterms:W3CDTF">2019-08-27T04:49:24Z</dcterms:created>
  <dcterms:modified xsi:type="dcterms:W3CDTF">2019-09-18T09:09:24Z</dcterms:modified>
</cp:coreProperties>
</file>